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fntdata" ContentType="application/x-fontdata"/>
  <Default Extension="jfif" ContentType="image/jpeg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wdp" ContentType="image/vnd.ms-photo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slides/slide21.xml" ContentType="application/vnd.openxmlformats-officedocument.presentationml.slide+xml"/>
  <Override PartName="/ppt/slides/slide22.xml" ContentType="application/vnd.openxmlformats-officedocument.presentationml.slide+xml"/>
  <Override PartName="/ppt/slides/slide23.xml" ContentType="application/vnd.openxmlformats-officedocument.presentationml.slide+xml"/>
  <Override PartName="/ppt/slides/slide24.xml" ContentType="application/vnd.openxmlformats-officedocument.presentationml.slide+xml"/>
  <Override PartName="/ppt/slides/slide25.xml" ContentType="application/vnd.openxmlformats-officedocument.presentationml.slide+xml"/>
  <Override PartName="/ppt/slides/slide26.xml" ContentType="application/vnd.openxmlformats-officedocument.presentationml.slide+xml"/>
  <Override PartName="/ppt/slides/slide27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heme/theme2.xml" ContentType="application/vnd.openxmlformats-officedocument.theme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3.xml" ContentType="application/vnd.openxmlformats-officedocument.theme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4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heme/theme5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ppt/notesSlides/notesSlide7.xml" ContentType="application/vnd.openxmlformats-officedocument.presentationml.notesSlide+xml"/>
  <Override PartName="/ppt/notesSlides/notesSlide8.xml" ContentType="application/vnd.openxmlformats-officedocument.presentationml.notesSlide+xml"/>
  <Override PartName="/ppt/notesSlides/notesSlide9.xml" ContentType="application/vnd.openxmlformats-officedocument.presentationml.notesSlide+xml"/>
  <Override PartName="/ppt/notesSlides/notesSlide10.xml" ContentType="application/vnd.openxmlformats-officedocument.presentationml.notesSlide+xml"/>
  <Override PartName="/ppt/notesSlides/notesSlide11.xml" ContentType="application/vnd.openxmlformats-officedocument.presentationml.notesSlide+xml"/>
  <Override PartName="/ppt/notesSlides/notesSlide12.xml" ContentType="application/vnd.openxmlformats-officedocument.presentationml.notesSlide+xml"/>
  <Override PartName="/ppt/notesSlides/notesSlide13.xml" ContentType="application/vnd.openxmlformats-officedocument.presentationml.notesSlide+xml"/>
  <Override PartName="/ppt/notesSlides/notesSlide14.xml" ContentType="application/vnd.openxmlformats-officedocument.presentationml.notesSlide+xml"/>
  <Override PartName="/ppt/notesSlides/notesSlide15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officeDocument/2006/relationships/extended-properties" Target="docProps/app.xml"/><Relationship Id="rId2" Type="http://schemas.openxmlformats.org/package/2006/relationships/metadata/core-properties" Target="docProps/core.xml"/><Relationship Id="rId1" Type="http://schemas.openxmlformats.org/officeDocument/2006/relationships/officeDocument" Target="ppt/presentation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trictFirstAndLastChars="0" embedTrueTypeFonts="1" saveSubsetFonts="1" autoCompressPictures="0">
  <p:sldMasterIdLst>
    <p:sldMasterId id="2147483677" r:id="rId1"/>
    <p:sldMasterId id="2147483679" r:id="rId2"/>
    <p:sldMasterId id="2147483683" r:id="rId3"/>
    <p:sldMasterId id="2147483700" r:id="rId4"/>
  </p:sldMasterIdLst>
  <p:notesMasterIdLst>
    <p:notesMasterId r:id="rId32"/>
  </p:notesMasterIdLst>
  <p:sldIdLst>
    <p:sldId id="305" r:id="rId5"/>
    <p:sldId id="264" r:id="rId6"/>
    <p:sldId id="429" r:id="rId7"/>
    <p:sldId id="307" r:id="rId8"/>
    <p:sldId id="310" r:id="rId9"/>
    <p:sldId id="479" r:id="rId10"/>
    <p:sldId id="481" r:id="rId11"/>
    <p:sldId id="457" r:id="rId12"/>
    <p:sldId id="456" r:id="rId13"/>
    <p:sldId id="455" r:id="rId14"/>
    <p:sldId id="454" r:id="rId15"/>
    <p:sldId id="462" r:id="rId16"/>
    <p:sldId id="461" r:id="rId17"/>
    <p:sldId id="463" r:id="rId18"/>
    <p:sldId id="460" r:id="rId19"/>
    <p:sldId id="465" r:id="rId20"/>
    <p:sldId id="464" r:id="rId21"/>
    <p:sldId id="459" r:id="rId22"/>
    <p:sldId id="485" r:id="rId23"/>
    <p:sldId id="486" r:id="rId24"/>
    <p:sldId id="487" r:id="rId25"/>
    <p:sldId id="258" r:id="rId26"/>
    <p:sldId id="475" r:id="rId27"/>
    <p:sldId id="476" r:id="rId28"/>
    <p:sldId id="478" r:id="rId29"/>
    <p:sldId id="268" r:id="rId30"/>
    <p:sldId id="441" r:id="rId31"/>
  </p:sldIdLst>
  <p:sldSz cx="9144000" cy="5143500" type="screen16x9"/>
  <p:notesSz cx="6858000" cy="9144000"/>
  <p:embeddedFontLst>
    <p:embeddedFont>
      <p:font typeface="Aharoni" panose="02010803020104030203" pitchFamily="2" charset="-79"/>
      <p:bold r:id="rId33"/>
    </p:embeddedFont>
    <p:embeddedFont>
      <p:font typeface="Archivo Black" panose="020B0604020202020204" charset="0"/>
      <p:regular r:id="rId34"/>
    </p:embeddedFont>
    <p:embeddedFont>
      <p:font typeface="Arial Rounded MT Bold" panose="020F0704030504030204" pitchFamily="34" charset="0"/>
      <p:regular r:id="rId35"/>
    </p:embeddedFont>
    <p:embeddedFont>
      <p:font typeface="Barlow" panose="020B0604020202020204" charset="0"/>
      <p:regular r:id="rId36"/>
      <p:bold r:id="rId37"/>
      <p:italic r:id="rId38"/>
      <p:boldItalic r:id="rId39"/>
    </p:embeddedFont>
    <p:embeddedFont>
      <p:font typeface="Barlow Condensed SemiBold" panose="020B0604020202020204" charset="0"/>
      <p:bold r:id="rId40"/>
      <p:boldItalic r:id="rId41"/>
    </p:embeddedFont>
    <p:embeddedFont>
      <p:font typeface="Barlow Light" panose="020B0604020202020204" charset="0"/>
      <p:regular r:id="rId42"/>
      <p:bold r:id="rId43"/>
      <p:italic r:id="rId44"/>
      <p:boldItalic r:id="rId45"/>
    </p:embeddedFont>
    <p:embeddedFont>
      <p:font typeface="Calibri" panose="020F0502020204030204" pitchFamily="34" charset="0"/>
      <p:regular r:id="rId46"/>
      <p:bold r:id="rId47"/>
      <p:italic r:id="rId48"/>
      <p:boldItalic r:id="rId49"/>
    </p:embeddedFont>
    <p:embeddedFont>
      <p:font typeface="Century Gothic" panose="020B0502020202020204" pitchFamily="34" charset="0"/>
      <p:regular r:id="rId50"/>
      <p:bold r:id="rId51"/>
      <p:italic r:id="rId52"/>
      <p:boldItalic r:id="rId53"/>
    </p:embeddedFont>
    <p:embeddedFont>
      <p:font typeface="Garamond" panose="02020404030301010803" pitchFamily="18" charset="0"/>
      <p:regular r:id="rId54"/>
      <p:bold r:id="rId55"/>
      <p:italic r:id="rId56"/>
    </p:embeddedFont>
    <p:embeddedFont>
      <p:font typeface="Georgia" panose="02040502050405020303" pitchFamily="18" charset="0"/>
      <p:regular r:id="rId57"/>
      <p:bold r:id="rId58"/>
      <p:italic r:id="rId59"/>
      <p:boldItalic r:id="rId60"/>
    </p:embeddedFont>
    <p:embeddedFont>
      <p:font typeface="Josefin Slab Thin" panose="02000000000000000000" charset="0"/>
      <p:regular r:id="rId61"/>
      <p:italic r:id="rId62"/>
    </p:embeddedFont>
    <p:embeddedFont>
      <p:font typeface="Livvic" panose="020B0604020202020204" charset="0"/>
      <p:regular r:id="rId63"/>
      <p:bold r:id="rId64"/>
      <p:italic r:id="rId65"/>
      <p:boldItalic r:id="rId66"/>
    </p:embeddedFont>
    <p:embeddedFont>
      <p:font typeface="Montserrat" panose="020B0604020202020204" charset="0"/>
      <p:regular r:id="rId67"/>
      <p:bold r:id="rId68"/>
      <p:italic r:id="rId69"/>
      <p:boldItalic r:id="rId70"/>
    </p:embeddedFont>
    <p:embeddedFont>
      <p:font typeface="Roboto Condensed Light" panose="02000000000000000000" pitchFamily="2" charset="0"/>
      <p:regular r:id="rId71"/>
      <p:italic r:id="rId72"/>
    </p:embeddedFont>
    <p:embeddedFont>
      <p:font typeface="Source Sans Pro" panose="020B0503030403020204" pitchFamily="34" charset="0"/>
      <p:regular r:id="rId73"/>
      <p:bold r:id="rId74"/>
      <p:italic r:id="rId75"/>
      <p:boldItalic r:id="rId76"/>
    </p:embeddedFont>
    <p:embeddedFont>
      <p:font typeface="Source Sans Pro SemiBold" panose="020B0603030403020204" pitchFamily="34" charset="0"/>
      <p:regular r:id="rId77"/>
      <p:bold r:id="rId78"/>
      <p:italic r:id="rId79"/>
      <p:boldItalic r:id="rId80"/>
    </p:embeddedFont>
    <p:embeddedFont>
      <p:font typeface="Tahoma" panose="020B0604030504040204" pitchFamily="34" charset="0"/>
      <p:regular r:id="rId81"/>
      <p:bold r:id="rId82"/>
    </p:embeddedFont>
  </p:embeddedFontLst>
  <p:defaultText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0000"/>
    <a:srgbClr val="FFFFFF"/>
    <a:srgbClr val="0000FF"/>
    <a:srgbClr val="008800"/>
    <a:srgbClr val="E09B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CEE5C0A8-22BA-475E-88B9-26B833EDCDDB}">
  <a:tblStyle styleId="{CEE5C0A8-22BA-475E-88B9-26B833EDCDDB}" styleName="Table_0">
    <a:wholeTbl>
      <a:tcTxStyle>
        <a:font>
          <a:latin typeface="Arial"/>
          <a:ea typeface="Arial"/>
          <a:cs typeface="Arial"/>
        </a:font>
        <a:srgbClr val="000000"/>
      </a:tcTxStyle>
      <a:tcStyle>
        <a:tcBdr>
          <a:lef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left>
          <a:right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right>
          <a:top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top>
          <a:bottom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bottom>
          <a:insideH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H>
          <a:insideV>
            <a:ln w="9525" cap="flat" cmpd="sng">
              <a:solidFill>
                <a:srgbClr val="9E9E9E"/>
              </a:solidFill>
              <a:prstDash val="solid"/>
              <a:round/>
              <a:headEnd type="none" w="sm" len="sm"/>
              <a:tailEnd type="none" w="sm" len="sm"/>
            </a:ln>
          </a:insideV>
        </a:tcBdr>
      </a:tcStyle>
    </a:wholeTbl>
    <a:band1H>
      <a:tcTxStyle/>
      <a:tcStyle>
        <a:tcBdr/>
      </a:tcStyle>
    </a:band1H>
    <a:band2H>
      <a:tcTxStyle/>
      <a:tcStyle>
        <a:tcBdr/>
      </a:tcStyle>
    </a:band2H>
    <a:band1V>
      <a:tcTxStyle/>
      <a:tcStyle>
        <a:tcBdr/>
      </a:tcStyle>
    </a:band1V>
    <a:band2V>
      <a:tcTxStyle/>
      <a:tcStyle>
        <a:tcBdr/>
      </a:tcStyle>
    </a:band2V>
    <a:lastCol>
      <a:tcTxStyle/>
      <a:tcStyle>
        <a:tcBdr/>
      </a:tcStyle>
    </a:lastCol>
    <a:firstCol>
      <a:tcTxStyle/>
      <a:tcStyle>
        <a:tcBdr/>
      </a:tcStyle>
    </a:firstCol>
    <a:lastRow>
      <a:tcTxStyle/>
      <a:tcStyle>
        <a:tcBdr/>
      </a:tcStyle>
    </a:lastRow>
    <a:seCell>
      <a:tcTxStyle/>
      <a:tcStyle>
        <a:tcBdr/>
      </a:tcStyle>
    </a:seCell>
    <a:swCell>
      <a:tcTxStyle/>
      <a:tcStyle>
        <a:tcBdr/>
      </a:tcStyle>
    </a:swCell>
    <a:firstRow>
      <a:tcTxStyle/>
      <a:tcStyle>
        <a:tcBdr/>
      </a:tcStyle>
    </a:firstRow>
    <a:neCell>
      <a:tcTxStyle/>
      <a:tcStyle>
        <a:tcBdr/>
      </a:tcStyle>
    </a:neCell>
    <a:nwCell>
      <a:tcTxStyle/>
      <a:tcStyle>
        <a:tcBdr/>
      </a:tcStyle>
    </a:nwCell>
  </a:tblStyle>
  <a:tblStyle styleId="{5940675A-B579-460E-94D1-54222C63F5DA}" styleName="No Style, Table Grid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15531" autoAdjust="0"/>
    <p:restoredTop sz="94660"/>
  </p:normalViewPr>
  <p:slideViewPr>
    <p:cSldViewPr snapToGrid="0">
      <p:cViewPr varScale="1">
        <p:scale>
          <a:sx n="138" d="100"/>
          <a:sy n="138" d="100"/>
        </p:scale>
        <p:origin x="762" y="120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200" d="100"/>
        <a:sy n="200" d="100"/>
      </p:scale>
      <p:origin x="0" y="-12048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9.xml"/><Relationship Id="rId18" Type="http://schemas.openxmlformats.org/officeDocument/2006/relationships/slide" Target="slides/slide14.xml"/><Relationship Id="rId26" Type="http://schemas.openxmlformats.org/officeDocument/2006/relationships/slide" Target="slides/slide22.xml"/><Relationship Id="rId39" Type="http://schemas.openxmlformats.org/officeDocument/2006/relationships/font" Target="fonts/font7.fntdata"/><Relationship Id="rId21" Type="http://schemas.openxmlformats.org/officeDocument/2006/relationships/slide" Target="slides/slide17.xml"/><Relationship Id="rId34" Type="http://schemas.openxmlformats.org/officeDocument/2006/relationships/font" Target="fonts/font2.fntdata"/><Relationship Id="rId42" Type="http://schemas.openxmlformats.org/officeDocument/2006/relationships/font" Target="fonts/font10.fntdata"/><Relationship Id="rId47" Type="http://schemas.openxmlformats.org/officeDocument/2006/relationships/font" Target="fonts/font15.fntdata"/><Relationship Id="rId50" Type="http://schemas.openxmlformats.org/officeDocument/2006/relationships/font" Target="fonts/font18.fntdata"/><Relationship Id="rId55" Type="http://schemas.openxmlformats.org/officeDocument/2006/relationships/font" Target="fonts/font23.fntdata"/><Relationship Id="rId63" Type="http://schemas.openxmlformats.org/officeDocument/2006/relationships/font" Target="fonts/font31.fntdata"/><Relationship Id="rId68" Type="http://schemas.openxmlformats.org/officeDocument/2006/relationships/font" Target="fonts/font36.fntdata"/><Relationship Id="rId76" Type="http://schemas.openxmlformats.org/officeDocument/2006/relationships/font" Target="fonts/font44.fntdata"/><Relationship Id="rId84" Type="http://schemas.openxmlformats.org/officeDocument/2006/relationships/viewProps" Target="viewProps.xml"/><Relationship Id="rId7" Type="http://schemas.openxmlformats.org/officeDocument/2006/relationships/slide" Target="slides/slide3.xml"/><Relationship Id="rId71" Type="http://schemas.openxmlformats.org/officeDocument/2006/relationships/font" Target="fonts/font39.fntdata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2.xml"/><Relationship Id="rId29" Type="http://schemas.openxmlformats.org/officeDocument/2006/relationships/slide" Target="slides/slide25.xml"/><Relationship Id="rId11" Type="http://schemas.openxmlformats.org/officeDocument/2006/relationships/slide" Target="slides/slide7.xml"/><Relationship Id="rId24" Type="http://schemas.openxmlformats.org/officeDocument/2006/relationships/slide" Target="slides/slide20.xml"/><Relationship Id="rId32" Type="http://schemas.openxmlformats.org/officeDocument/2006/relationships/notesMaster" Target="notesMasters/notesMaster1.xml"/><Relationship Id="rId37" Type="http://schemas.openxmlformats.org/officeDocument/2006/relationships/font" Target="fonts/font5.fntdata"/><Relationship Id="rId40" Type="http://schemas.openxmlformats.org/officeDocument/2006/relationships/font" Target="fonts/font8.fntdata"/><Relationship Id="rId45" Type="http://schemas.openxmlformats.org/officeDocument/2006/relationships/font" Target="fonts/font13.fntdata"/><Relationship Id="rId53" Type="http://schemas.openxmlformats.org/officeDocument/2006/relationships/font" Target="fonts/font21.fntdata"/><Relationship Id="rId58" Type="http://schemas.openxmlformats.org/officeDocument/2006/relationships/font" Target="fonts/font26.fntdata"/><Relationship Id="rId66" Type="http://schemas.openxmlformats.org/officeDocument/2006/relationships/font" Target="fonts/font34.fntdata"/><Relationship Id="rId74" Type="http://schemas.openxmlformats.org/officeDocument/2006/relationships/font" Target="fonts/font42.fntdata"/><Relationship Id="rId79" Type="http://schemas.openxmlformats.org/officeDocument/2006/relationships/font" Target="fonts/font47.fntdata"/><Relationship Id="rId5" Type="http://schemas.openxmlformats.org/officeDocument/2006/relationships/slide" Target="slides/slide1.xml"/><Relationship Id="rId61" Type="http://schemas.openxmlformats.org/officeDocument/2006/relationships/font" Target="fonts/font29.fntdata"/><Relationship Id="rId82" Type="http://schemas.openxmlformats.org/officeDocument/2006/relationships/font" Target="fonts/font50.fntdata"/><Relationship Id="rId19" Type="http://schemas.openxmlformats.org/officeDocument/2006/relationships/slide" Target="slides/slide15.xml"/><Relationship Id="rId4" Type="http://schemas.openxmlformats.org/officeDocument/2006/relationships/slideMaster" Target="slideMasters/slideMaster4.xml"/><Relationship Id="rId9" Type="http://schemas.openxmlformats.org/officeDocument/2006/relationships/slide" Target="slides/slide5.xml"/><Relationship Id="rId14" Type="http://schemas.openxmlformats.org/officeDocument/2006/relationships/slide" Target="slides/slide10.xml"/><Relationship Id="rId22" Type="http://schemas.openxmlformats.org/officeDocument/2006/relationships/slide" Target="slides/slide18.xml"/><Relationship Id="rId27" Type="http://schemas.openxmlformats.org/officeDocument/2006/relationships/slide" Target="slides/slide23.xml"/><Relationship Id="rId30" Type="http://schemas.openxmlformats.org/officeDocument/2006/relationships/slide" Target="slides/slide26.xml"/><Relationship Id="rId35" Type="http://schemas.openxmlformats.org/officeDocument/2006/relationships/font" Target="fonts/font3.fntdata"/><Relationship Id="rId43" Type="http://schemas.openxmlformats.org/officeDocument/2006/relationships/font" Target="fonts/font11.fntdata"/><Relationship Id="rId48" Type="http://schemas.openxmlformats.org/officeDocument/2006/relationships/font" Target="fonts/font16.fntdata"/><Relationship Id="rId56" Type="http://schemas.openxmlformats.org/officeDocument/2006/relationships/font" Target="fonts/font24.fntdata"/><Relationship Id="rId64" Type="http://schemas.openxmlformats.org/officeDocument/2006/relationships/font" Target="fonts/font32.fntdata"/><Relationship Id="rId69" Type="http://schemas.openxmlformats.org/officeDocument/2006/relationships/font" Target="fonts/font37.fntdata"/><Relationship Id="rId77" Type="http://schemas.openxmlformats.org/officeDocument/2006/relationships/font" Target="fonts/font45.fntdata"/><Relationship Id="rId8" Type="http://schemas.openxmlformats.org/officeDocument/2006/relationships/slide" Target="slides/slide4.xml"/><Relationship Id="rId51" Type="http://schemas.openxmlformats.org/officeDocument/2006/relationships/font" Target="fonts/font19.fntdata"/><Relationship Id="rId72" Type="http://schemas.openxmlformats.org/officeDocument/2006/relationships/font" Target="fonts/font40.fntdata"/><Relationship Id="rId80" Type="http://schemas.openxmlformats.org/officeDocument/2006/relationships/font" Target="fonts/font48.fntdata"/><Relationship Id="rId85" Type="http://schemas.openxmlformats.org/officeDocument/2006/relationships/theme" Target="theme/theme1.xml"/><Relationship Id="rId3" Type="http://schemas.openxmlformats.org/officeDocument/2006/relationships/slideMaster" Target="slideMasters/slideMaster3.xml"/><Relationship Id="rId12" Type="http://schemas.openxmlformats.org/officeDocument/2006/relationships/slide" Target="slides/slide8.xml"/><Relationship Id="rId17" Type="http://schemas.openxmlformats.org/officeDocument/2006/relationships/slide" Target="slides/slide13.xml"/><Relationship Id="rId25" Type="http://schemas.openxmlformats.org/officeDocument/2006/relationships/slide" Target="slides/slide21.xml"/><Relationship Id="rId33" Type="http://schemas.openxmlformats.org/officeDocument/2006/relationships/font" Target="fonts/font1.fntdata"/><Relationship Id="rId38" Type="http://schemas.openxmlformats.org/officeDocument/2006/relationships/font" Target="fonts/font6.fntdata"/><Relationship Id="rId46" Type="http://schemas.openxmlformats.org/officeDocument/2006/relationships/font" Target="fonts/font14.fntdata"/><Relationship Id="rId59" Type="http://schemas.openxmlformats.org/officeDocument/2006/relationships/font" Target="fonts/font27.fntdata"/><Relationship Id="rId67" Type="http://schemas.openxmlformats.org/officeDocument/2006/relationships/font" Target="fonts/font35.fntdata"/><Relationship Id="rId20" Type="http://schemas.openxmlformats.org/officeDocument/2006/relationships/slide" Target="slides/slide16.xml"/><Relationship Id="rId41" Type="http://schemas.openxmlformats.org/officeDocument/2006/relationships/font" Target="fonts/font9.fntdata"/><Relationship Id="rId54" Type="http://schemas.openxmlformats.org/officeDocument/2006/relationships/font" Target="fonts/font22.fntdata"/><Relationship Id="rId62" Type="http://schemas.openxmlformats.org/officeDocument/2006/relationships/font" Target="fonts/font30.fntdata"/><Relationship Id="rId70" Type="http://schemas.openxmlformats.org/officeDocument/2006/relationships/font" Target="fonts/font38.fntdata"/><Relationship Id="rId75" Type="http://schemas.openxmlformats.org/officeDocument/2006/relationships/font" Target="fonts/font43.fntdata"/><Relationship Id="rId83" Type="http://schemas.openxmlformats.org/officeDocument/2006/relationships/presProps" Target="presProp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2.xml"/><Relationship Id="rId15" Type="http://schemas.openxmlformats.org/officeDocument/2006/relationships/slide" Target="slides/slide11.xml"/><Relationship Id="rId23" Type="http://schemas.openxmlformats.org/officeDocument/2006/relationships/slide" Target="slides/slide19.xml"/><Relationship Id="rId28" Type="http://schemas.openxmlformats.org/officeDocument/2006/relationships/slide" Target="slides/slide24.xml"/><Relationship Id="rId36" Type="http://schemas.openxmlformats.org/officeDocument/2006/relationships/font" Target="fonts/font4.fntdata"/><Relationship Id="rId49" Type="http://schemas.openxmlformats.org/officeDocument/2006/relationships/font" Target="fonts/font17.fntdata"/><Relationship Id="rId57" Type="http://schemas.openxmlformats.org/officeDocument/2006/relationships/font" Target="fonts/font25.fntdata"/><Relationship Id="rId10" Type="http://schemas.openxmlformats.org/officeDocument/2006/relationships/slide" Target="slides/slide6.xml"/><Relationship Id="rId31" Type="http://schemas.openxmlformats.org/officeDocument/2006/relationships/slide" Target="slides/slide27.xml"/><Relationship Id="rId44" Type="http://schemas.openxmlformats.org/officeDocument/2006/relationships/font" Target="fonts/font12.fntdata"/><Relationship Id="rId52" Type="http://schemas.openxmlformats.org/officeDocument/2006/relationships/font" Target="fonts/font20.fntdata"/><Relationship Id="rId60" Type="http://schemas.openxmlformats.org/officeDocument/2006/relationships/font" Target="fonts/font28.fntdata"/><Relationship Id="rId65" Type="http://schemas.openxmlformats.org/officeDocument/2006/relationships/font" Target="fonts/font33.fntdata"/><Relationship Id="rId73" Type="http://schemas.openxmlformats.org/officeDocument/2006/relationships/font" Target="fonts/font41.fntdata"/><Relationship Id="rId78" Type="http://schemas.openxmlformats.org/officeDocument/2006/relationships/font" Target="fonts/font46.fntdata"/><Relationship Id="rId81" Type="http://schemas.openxmlformats.org/officeDocument/2006/relationships/font" Target="fonts/font49.fntdata"/><Relationship Id="rId86" Type="http://schemas.openxmlformats.org/officeDocument/2006/relationships/tableStyles" Target="tableStyles.xml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Shape 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Google Shape;3;n"/>
          <p:cNvSpPr>
            <a:spLocks noGrp="1" noRot="1" noChangeAspect="1"/>
          </p:cNvSpPr>
          <p:nvPr>
            <p:ph type="sldImg" idx="2"/>
          </p:nvPr>
        </p:nvSpPr>
        <p:spPr>
          <a:xfrm>
            <a:off x="381300" y="685800"/>
            <a:ext cx="6096075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  <a:noFill/>
          <a:ln w="9525" cap="flat" cmpd="sng">
            <a:solidFill>
              <a:srgbClr val="000000"/>
            </a:solidFill>
            <a:prstDash val="solid"/>
            <a:round/>
            <a:headEnd type="none" w="sm" len="sm"/>
            <a:tailEnd type="none" w="sm" len="sm"/>
          </a:ln>
        </p:spPr>
      </p:sp>
      <p:sp>
        <p:nvSpPr>
          <p:cNvPr id="4" name="Google Shape;4;n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1pPr>
            <a:lvl2pPr marL="914400" lvl="1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2pPr>
            <a:lvl3pPr marL="1371600" lvl="2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3pPr>
            <a:lvl4pPr marL="1828800" lvl="3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4pPr>
            <a:lvl5pPr marL="2286000" lvl="4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5pPr>
            <a:lvl6pPr marL="2743200" lvl="5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6pPr>
            <a:lvl7pPr marL="3200400" lvl="6" indent="-298450">
              <a:spcBef>
                <a:spcPts val="0"/>
              </a:spcBef>
              <a:spcAft>
                <a:spcPts val="0"/>
              </a:spcAft>
              <a:buSzPts val="1100"/>
              <a:buChar char="●"/>
              <a:defRPr sz="1100"/>
            </a:lvl7pPr>
            <a:lvl8pPr marL="3657600" lvl="7" indent="-298450">
              <a:spcBef>
                <a:spcPts val="0"/>
              </a:spcBef>
              <a:spcAft>
                <a:spcPts val="0"/>
              </a:spcAft>
              <a:buSzPts val="1100"/>
              <a:buChar char="○"/>
              <a:defRPr sz="1100"/>
            </a:lvl8pPr>
            <a:lvl9pPr marL="4114800" lvl="8" indent="-298450">
              <a:spcBef>
                <a:spcPts val="0"/>
              </a:spcBef>
              <a:spcAft>
                <a:spcPts val="0"/>
              </a:spcAft>
              <a:buSzPts val="1100"/>
              <a:buChar char="■"/>
              <a:defRPr sz="1100"/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notesStyle>
    <a:defPPr marR="0" lvl="0" algn="l" rtl="0">
      <a:lnSpc>
        <a:spcPct val="100000"/>
      </a:lnSpc>
      <a:spcBef>
        <a:spcPts val="0"/>
      </a:spcBef>
      <a:spcAft>
        <a:spcPts val="0"/>
      </a:spcAft>
    </a:defPPr>
    <a:lvl1pPr marR="0" lvl="0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1pPr>
    <a:lvl2pPr marR="0" lvl="1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2pPr>
    <a:lvl3pPr marR="0" lvl="2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3pPr>
    <a:lvl4pPr marR="0" lvl="3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4pPr>
    <a:lvl5pPr marR="0" lvl="4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5pPr>
    <a:lvl6pPr marR="0" lvl="5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6pPr>
    <a:lvl7pPr marR="0" lvl="6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7pPr>
    <a:lvl8pPr marR="0" lvl="7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8pPr>
    <a:lvl9pPr marR="0" lvl="8" algn="l" rtl="0">
      <a:lnSpc>
        <a:spcPct val="100000"/>
      </a:lnSpc>
      <a:spcBef>
        <a:spcPts val="0"/>
      </a:spcBef>
      <a:spcAft>
        <a:spcPts val="0"/>
      </a:spcAft>
      <a:buClr>
        <a:srgbClr val="000000"/>
      </a:buClr>
      <a:buFont typeface="Arial"/>
      <a:defRPr sz="1400" b="0" i="0" u="none" strike="noStrike" cap="none">
        <a:solidFill>
          <a:srgbClr val="000000"/>
        </a:solidFill>
        <a:latin typeface="Arial"/>
        <a:ea typeface="Arial"/>
        <a:cs typeface="Arial"/>
        <a:sym typeface="Arial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10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2.xml"/><Relationship Id="rId1" Type="http://schemas.openxmlformats.org/officeDocument/2006/relationships/notesMaster" Target="../notesMasters/notesMaster1.xml"/></Relationships>
</file>

<file path=ppt/notesSlides/_rels/notesSlide1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3.xml"/><Relationship Id="rId1" Type="http://schemas.openxmlformats.org/officeDocument/2006/relationships/notesMaster" Target="../notesMasters/notesMaster1.xml"/></Relationships>
</file>

<file path=ppt/notesSlides/_rels/notesSlide1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4.xml"/><Relationship Id="rId1" Type="http://schemas.openxmlformats.org/officeDocument/2006/relationships/notesMaster" Target="../notesMasters/notesMaster1.xml"/></Relationships>
</file>

<file path=ppt/notesSlides/_rels/notesSlide1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5.xml"/><Relationship Id="rId1" Type="http://schemas.openxmlformats.org/officeDocument/2006/relationships/notesMaster" Target="../notesMasters/notesMaster1.xml"/></Relationships>
</file>

<file path=ppt/notesSlides/_rels/notesSlide1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6.xml"/><Relationship Id="rId1" Type="http://schemas.openxmlformats.org/officeDocument/2006/relationships/notesMaster" Target="../notesMasters/notesMaster1.xml"/></Relationships>
</file>

<file path=ppt/notesSlides/_rels/notesSlide1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7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4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7.xml"/><Relationship Id="rId1" Type="http://schemas.openxmlformats.org/officeDocument/2006/relationships/notesMaster" Target="../notesMasters/notesMaster1.xml"/></Relationships>
</file>

<file path=ppt/notesSlides/_rels/notesSlide7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9.xml"/><Relationship Id="rId1" Type="http://schemas.openxmlformats.org/officeDocument/2006/relationships/notesMaster" Target="../notesMasters/notesMaster1.xml"/></Relationships>
</file>

<file path=ppt/notesSlides/_rels/notesSlide8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0.xml"/><Relationship Id="rId1" Type="http://schemas.openxmlformats.org/officeDocument/2006/relationships/notesMaster" Target="../notesMasters/notesMaster1.xml"/></Relationships>
</file>

<file path=ppt/notesSlides/_rels/notesSlide9.xml.rels><?xml version="1.0" encoding="UTF-8" standalone="yes"?>
<Relationships xmlns="http://schemas.openxmlformats.org/package/2006/relationships"><Relationship Id="rId2" Type="http://schemas.openxmlformats.org/officeDocument/2006/relationships/slide" Target="../slides/slide21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F48E38-B962-4A43-B3A5-742FF0076E21}" type="slidenum">
              <a:rPr kumimoji="0" lang="en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</a:t>
            </a:fld>
            <a:endParaRPr kumimoji="0" lang="en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5786617"/>
      </p:ext>
    </p:extLst>
  </p:cSld>
  <p:clrMapOvr>
    <a:masterClrMapping/>
  </p:clrMapOvr>
</p:notes>
</file>

<file path=ppt/notesSlides/notesSlide10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6" name="Google Shape;1396;gaf22108b57_0_167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97" name="Google Shape;1397;gaf22108b57_0_1676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11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6" name="Google Shape;1396;gaf22108b57_0_167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97" name="Google Shape;1397;gaf22108b57_0_1676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510724479"/>
      </p:ext>
    </p:extLst>
  </p:cSld>
  <p:clrMapOvr>
    <a:masterClrMapping/>
  </p:clrMapOvr>
</p:notes>
</file>

<file path=ppt/notesSlides/notesSlide1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6" name="Google Shape;1396;gaf22108b57_0_167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97" name="Google Shape;1397;gaf22108b57_0_1676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697496378"/>
      </p:ext>
    </p:extLst>
  </p:cSld>
  <p:clrMapOvr>
    <a:masterClrMapping/>
  </p:clrMapOvr>
</p:notes>
</file>

<file path=ppt/notesSlides/notesSlide1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6" name="Google Shape;1396;gaf22108b57_0_167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97" name="Google Shape;1397;gaf22108b57_0_1676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742068858"/>
      </p:ext>
    </p:extLst>
  </p:cSld>
  <p:clrMapOvr>
    <a:masterClrMapping/>
  </p:clrMapOvr>
</p:notes>
</file>

<file path=ppt/notesSlides/notesSlide1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55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58" name="Google Shape;1558;ga5ba61617c_0_1768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559" name="Google Shape;1559;ga5ba61617c_0_1768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 dirty="0"/>
          </a:p>
        </p:txBody>
      </p:sp>
    </p:spTree>
  </p:cSld>
  <p:clrMapOvr>
    <a:masterClrMapping/>
  </p:clrMapOvr>
</p:notes>
</file>

<file path=ppt/notesSlides/notesSlide1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381000" y="685800"/>
            <a:ext cx="6096000" cy="3429000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ID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286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2F48E38-B962-4A43-B3A5-742FF0076E21}" type="slidenum">
              <a:rPr kumimoji="0" lang="en-ID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286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7</a:t>
            </a:fld>
            <a:endParaRPr kumimoji="0" lang="en-ID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598337919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256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57" name="Google Shape;257;g641d900745_0_9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258" name="Google Shape;258;g641d900745_0_9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87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8" name="Google Shape;188;g705f66ed5c_0_1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89" name="Google Shape;189;g705f66ed5c_0_1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1445522578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6" name="Google Shape;1396;gaf22108b57_0_167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97" name="Google Shape;1397;gaf22108b57_0_1676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039164458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6" name="Google Shape;1396;gaf22108b57_0_167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97" name="Google Shape;1397;gaf22108b57_0_1676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039164458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9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6" name="Google Shape;1396;gaf22108b57_0_16769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97" name="Google Shape;1397;gaf22108b57_0_16769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039164458"/>
      </p:ext>
    </p:extLst>
  </p:cSld>
  <p:clrMapOvr>
    <a:masterClrMapping/>
  </p:clrMapOvr>
</p:notes>
</file>

<file path=ppt/notesSlides/notesSlide7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0" name="Google Shape;1390;gaf35ad39d7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91" name="Google Shape;1391;gaf35ad39d7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3413497813"/>
      </p:ext>
    </p:extLst>
  </p:cSld>
  <p:clrMapOvr>
    <a:masterClrMapping/>
  </p:clrMapOvr>
</p:notes>
</file>

<file path=ppt/notesSlides/notesSlide8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0" name="Google Shape;1390;gaf35ad39d7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91" name="Google Shape;1391;gaf35ad39d7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345071939"/>
      </p:ext>
    </p:extLst>
  </p:cSld>
  <p:clrMapOvr>
    <a:masterClrMapping/>
  </p:clrMapOvr>
</p:notes>
</file>

<file path=ppt/notesSlides/notesSlide9.xml><?xml version="1.0" encoding="utf-8"?>
<p:notes xmlns:a="http://schemas.openxmlformats.org/drawingml/2006/main" xmlns:r="http://schemas.openxmlformats.org/officeDocument/2006/relationships" xmlns:p="http://schemas.openxmlformats.org/presentationml/2006/main" showMasterSp="0" showMasterPhAnim="0">
  <p:cSld>
    <p:spTree>
      <p:nvGrpSpPr>
        <p:cNvPr id="1" name="Shape 13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0" name="Google Shape;1390;gaf35ad39d7_0_0:notes"/>
          <p:cNvSpPr>
            <a:spLocks noGrp="1" noRot="1" noChangeAspect="1"/>
          </p:cNvSpPr>
          <p:nvPr>
            <p:ph type="sldImg" idx="2"/>
          </p:nvPr>
        </p:nvSpPr>
        <p:spPr>
          <a:xfrm>
            <a:off x="381000" y="685800"/>
            <a:ext cx="6096000" cy="3429000"/>
          </a:xfrm>
          <a:custGeom>
            <a:avLst/>
            <a:gdLst/>
            <a:ahLst/>
            <a:cxnLst/>
            <a:rect l="l" t="t" r="r" b="b"/>
            <a:pathLst>
              <a:path w="120000" h="120000" extrusionOk="0">
                <a:moveTo>
                  <a:pt x="0" y="0"/>
                </a:moveTo>
                <a:lnTo>
                  <a:pt x="120000" y="0"/>
                </a:lnTo>
                <a:lnTo>
                  <a:pt x="120000" y="120000"/>
                </a:lnTo>
                <a:lnTo>
                  <a:pt x="0" y="120000"/>
                </a:lnTo>
                <a:close/>
              </a:path>
            </a:pathLst>
          </a:custGeom>
        </p:spPr>
      </p:sp>
      <p:sp>
        <p:nvSpPr>
          <p:cNvPr id="1391" name="Google Shape;1391;gaf35ad39d7_0_0:notes"/>
          <p:cNvSpPr txBox="1">
            <a:spLocks noGrp="1"/>
          </p:cNvSpPr>
          <p:nvPr>
            <p:ph type="body" idx="1"/>
          </p:nvPr>
        </p:nvSpPr>
        <p:spPr>
          <a:xfrm>
            <a:off x="685800" y="4343400"/>
            <a:ext cx="5486400" cy="41148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</p:spTree>
    <p:extLst>
      <p:ext uri="{BB962C8B-B14F-4D97-AF65-F5344CB8AC3E}">
        <p14:creationId xmlns:p14="http://schemas.microsoft.com/office/powerpoint/2010/main" val="284004747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3.jpg"/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4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6.emf"/><Relationship Id="rId4" Type="http://schemas.openxmlformats.org/officeDocument/2006/relationships/oleObject" Target="../embeddings/oleObject1.bin"/></Relationships>
</file>

<file path=ppt/slideLayouts/_rels/slideLayout3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jpg"/><Relationship Id="rId1" Type="http://schemas.openxmlformats.org/officeDocument/2006/relationships/slideMaster" Target="../slideMasters/slideMaster4.xml"/></Relationships>
</file>

<file path=ppt/slideLayouts/_rels/slideLayout38.xml.rels><?xml version="1.0" encoding="UTF-8" standalone="yes"?>
<Relationships xmlns="http://schemas.openxmlformats.org/package/2006/relationships"><Relationship Id="rId2" Type="http://schemas.openxmlformats.org/officeDocument/2006/relationships/image" Target="../media/image8.jpg"/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.jpg"/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_AND_BODY">
    <p:bg>
      <p:bgPr>
        <a:solidFill>
          <a:schemeClr val="dk2"/>
        </a:solidFill>
        <a:effectLst/>
      </p:bgPr>
    </p:bg>
    <p:spTree>
      <p:nvGrpSpPr>
        <p:cNvPr id="1" name="Shape 2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3" name="Google Shape;23;p4"/>
          <p:cNvSpPr/>
          <p:nvPr/>
        </p:nvSpPr>
        <p:spPr>
          <a:xfrm rot="10800000" flipH="1">
            <a:off x="-1941149" y="3206850"/>
            <a:ext cx="3876900" cy="3876900"/>
          </a:xfrm>
          <a:prstGeom prst="pie">
            <a:avLst>
              <a:gd name="adj1" fmla="val 0"/>
              <a:gd name="adj2" fmla="val 5425663"/>
            </a:avLst>
          </a:prstGeom>
          <a:solidFill>
            <a:srgbClr val="E09B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4" name="Google Shape;24;p4"/>
          <p:cNvSpPr/>
          <p:nvPr/>
        </p:nvSpPr>
        <p:spPr>
          <a:xfrm rot="281949">
            <a:off x="3559740" y="-398880"/>
            <a:ext cx="11088372" cy="11088372"/>
          </a:xfrm>
          <a:prstGeom prst="blockArc">
            <a:avLst>
              <a:gd name="adj1" fmla="val 10532336"/>
              <a:gd name="adj2" fmla="val 17298376"/>
              <a:gd name="adj3" fmla="val 14103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5" name="Google Shape;25;p4"/>
          <p:cNvSpPr txBox="1">
            <a:spLocks noGrp="1"/>
          </p:cNvSpPr>
          <p:nvPr>
            <p:ph type="title"/>
          </p:nvPr>
        </p:nvSpPr>
        <p:spPr>
          <a:xfrm>
            <a:off x="2092450" y="445025"/>
            <a:ext cx="63318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>
              <a:spcBef>
                <a:spcPts val="0"/>
              </a:spcBef>
              <a:spcAft>
                <a:spcPts val="0"/>
              </a:spcAft>
              <a:buSzPts val="1800"/>
              <a:buNone/>
              <a:defRPr sz="1800" b="0">
                <a:latin typeface="Source Sans Pro SemiBold"/>
                <a:ea typeface="Source Sans Pro SemiBold"/>
                <a:cs typeface="Source Sans Pro SemiBold"/>
                <a:sym typeface="Source Sans Pro SemiBol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6" name="Google Shape;26;p4"/>
          <p:cNvSpPr txBox="1">
            <a:spLocks noGrp="1"/>
          </p:cNvSpPr>
          <p:nvPr>
            <p:ph type="body" idx="1"/>
          </p:nvPr>
        </p:nvSpPr>
        <p:spPr>
          <a:xfrm>
            <a:off x="719750" y="1152475"/>
            <a:ext cx="7704600" cy="34164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marL="457200" lvl="0" indent="-292100" rtl="0">
              <a:spcBef>
                <a:spcPts val="0"/>
              </a:spcBef>
              <a:spcAft>
                <a:spcPts val="0"/>
              </a:spcAft>
              <a:buClr>
                <a:srgbClr val="0C343D"/>
              </a:buClr>
              <a:buSzPts val="1000"/>
              <a:buFont typeface="Josefin Slab Thin"/>
              <a:buChar char="●"/>
              <a:defRPr/>
            </a:lvl1pPr>
            <a:lvl2pPr marL="914400" lvl="1" indent="-304800" rtl="0">
              <a:spcBef>
                <a:spcPts val="0"/>
              </a:spcBef>
              <a:spcAft>
                <a:spcPts val="0"/>
              </a:spcAft>
              <a:buClr>
                <a:srgbClr val="0C343D"/>
              </a:buClr>
              <a:buSzPts val="1200"/>
              <a:buFont typeface="Josefin Slab Thin"/>
              <a:buChar char="○"/>
              <a:defRPr/>
            </a:lvl2pPr>
            <a:lvl3pPr marL="1371600" lvl="2" indent="-304800" rtl="0">
              <a:spcBef>
                <a:spcPts val="1600"/>
              </a:spcBef>
              <a:spcAft>
                <a:spcPts val="0"/>
              </a:spcAft>
              <a:buClr>
                <a:srgbClr val="0C343D"/>
              </a:buClr>
              <a:buSzPts val="1200"/>
              <a:buFont typeface="Josefin Slab Thin"/>
              <a:buChar char="■"/>
              <a:defRPr/>
            </a:lvl3pPr>
            <a:lvl4pPr marL="1828800" lvl="3" indent="-304800" rtl="0">
              <a:spcBef>
                <a:spcPts val="1600"/>
              </a:spcBef>
              <a:spcAft>
                <a:spcPts val="0"/>
              </a:spcAft>
              <a:buClr>
                <a:srgbClr val="0C343D"/>
              </a:buClr>
              <a:buSzPts val="1200"/>
              <a:buFont typeface="Josefin Slab Thin"/>
              <a:buChar char="●"/>
              <a:defRPr/>
            </a:lvl4pPr>
            <a:lvl5pPr marL="2286000" lvl="4" indent="-304800" rtl="0">
              <a:spcBef>
                <a:spcPts val="1600"/>
              </a:spcBef>
              <a:spcAft>
                <a:spcPts val="0"/>
              </a:spcAft>
              <a:buClr>
                <a:srgbClr val="0C343D"/>
              </a:buClr>
              <a:buSzPts val="1200"/>
              <a:buFont typeface="Josefin Slab Thin"/>
              <a:buChar char="○"/>
              <a:defRPr/>
            </a:lvl5pPr>
            <a:lvl6pPr marL="2743200" lvl="5" indent="-304800" rtl="0">
              <a:spcBef>
                <a:spcPts val="1600"/>
              </a:spcBef>
              <a:spcAft>
                <a:spcPts val="0"/>
              </a:spcAft>
              <a:buClr>
                <a:srgbClr val="0C343D"/>
              </a:buClr>
              <a:buSzPts val="1200"/>
              <a:buFont typeface="Josefin Slab Thin"/>
              <a:buChar char="■"/>
              <a:defRPr/>
            </a:lvl6pPr>
            <a:lvl7pPr marL="3200400" lvl="6" indent="-304800" rtl="0">
              <a:spcBef>
                <a:spcPts val="1600"/>
              </a:spcBef>
              <a:spcAft>
                <a:spcPts val="0"/>
              </a:spcAft>
              <a:buClr>
                <a:srgbClr val="0C343D"/>
              </a:buClr>
              <a:buSzPts val="1200"/>
              <a:buFont typeface="Josefin Slab Thin"/>
              <a:buChar char="●"/>
              <a:defRPr/>
            </a:lvl7pPr>
            <a:lvl8pPr marL="3657600" lvl="7" indent="-304800" rtl="0">
              <a:spcBef>
                <a:spcPts val="1600"/>
              </a:spcBef>
              <a:spcAft>
                <a:spcPts val="0"/>
              </a:spcAft>
              <a:buClr>
                <a:srgbClr val="0C343D"/>
              </a:buClr>
              <a:buSzPts val="1200"/>
              <a:buFont typeface="Josefin Slab Thin"/>
              <a:buChar char="○"/>
              <a:defRPr/>
            </a:lvl8pPr>
            <a:lvl9pPr marL="4114800" lvl="8" indent="-304800" rtl="0">
              <a:spcBef>
                <a:spcPts val="1600"/>
              </a:spcBef>
              <a:spcAft>
                <a:spcPts val="1600"/>
              </a:spcAft>
              <a:buClr>
                <a:srgbClr val="0C343D"/>
              </a:buClr>
              <a:buSzPts val="1200"/>
              <a:buFont typeface="Josefin Slab Thin"/>
              <a:buChar char="■"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Cover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2" name="Group 1">
            <a:extLst>
              <a:ext uri="{FF2B5EF4-FFF2-40B4-BE49-F238E27FC236}">
                <a16:creationId xmlns:a16="http://schemas.microsoft.com/office/drawing/2014/main" id="{1BA85527-7686-4B9E-BCA2-C89E7EF409CC}"/>
              </a:ext>
            </a:extLst>
          </p:cNvPr>
          <p:cNvGrpSpPr/>
          <p:nvPr userDrawn="1"/>
        </p:nvGrpSpPr>
        <p:grpSpPr>
          <a:xfrm>
            <a:off x="0" y="4948390"/>
            <a:ext cx="9144000" cy="195110"/>
            <a:chOff x="4379494" y="697832"/>
            <a:chExt cx="2586787" cy="168442"/>
          </a:xfrm>
        </p:grpSpPr>
        <p:sp>
          <p:nvSpPr>
            <p:cNvPr id="3" name="Rectangle 2">
              <a:extLst>
                <a:ext uri="{FF2B5EF4-FFF2-40B4-BE49-F238E27FC236}">
                  <a16:creationId xmlns:a16="http://schemas.microsoft.com/office/drawing/2014/main" id="{13522C4B-7807-4A39-9C8D-700C20C373F3}"/>
                </a:ext>
              </a:extLst>
            </p:cNvPr>
            <p:cNvSpPr/>
            <p:nvPr/>
          </p:nvSpPr>
          <p:spPr>
            <a:xfrm>
              <a:off x="4379494" y="697832"/>
              <a:ext cx="517358" cy="168442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/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7ACF3E71-BBD5-4B4A-A297-09EBE8A0F8E9}"/>
                </a:ext>
              </a:extLst>
            </p:cNvPr>
            <p:cNvSpPr/>
            <p:nvPr/>
          </p:nvSpPr>
          <p:spPr>
            <a:xfrm>
              <a:off x="4896852" y="697832"/>
              <a:ext cx="517358" cy="16844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/>
            </a:p>
          </p:txBody>
        </p:sp>
        <p:sp>
          <p:nvSpPr>
            <p:cNvPr id="5" name="Rectangle 4">
              <a:extLst>
                <a:ext uri="{FF2B5EF4-FFF2-40B4-BE49-F238E27FC236}">
                  <a16:creationId xmlns:a16="http://schemas.microsoft.com/office/drawing/2014/main" id="{7DC64CBA-1510-44FC-8160-A608DC48F2F5}"/>
                </a:ext>
              </a:extLst>
            </p:cNvPr>
            <p:cNvSpPr/>
            <p:nvPr/>
          </p:nvSpPr>
          <p:spPr>
            <a:xfrm>
              <a:off x="5414209" y="697832"/>
              <a:ext cx="517358" cy="16844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/>
            </a:p>
          </p:txBody>
        </p:sp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6DF3E328-6D2D-439B-8511-A2B61657404F}"/>
                </a:ext>
              </a:extLst>
            </p:cNvPr>
            <p:cNvSpPr/>
            <p:nvPr/>
          </p:nvSpPr>
          <p:spPr>
            <a:xfrm>
              <a:off x="5931566" y="697832"/>
              <a:ext cx="517358" cy="1684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/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288ACE1E-5A98-4F91-9738-F6BA3802E933}"/>
                </a:ext>
              </a:extLst>
            </p:cNvPr>
            <p:cNvSpPr/>
            <p:nvPr/>
          </p:nvSpPr>
          <p:spPr>
            <a:xfrm>
              <a:off x="6448923" y="697832"/>
              <a:ext cx="517358" cy="16844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/>
            </a:p>
          </p:txBody>
        </p:sp>
      </p:grpSp>
    </p:spTree>
    <p:extLst>
      <p:ext uri="{BB962C8B-B14F-4D97-AF65-F5344CB8AC3E}">
        <p14:creationId xmlns:p14="http://schemas.microsoft.com/office/powerpoint/2010/main" val="1179899403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End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0945DE9-E3D5-4878-87F8-0F789D212B69}"/>
              </a:ext>
            </a:extLst>
          </p:cNvPr>
          <p:cNvSpPr/>
          <p:nvPr userDrawn="1"/>
        </p:nvSpPr>
        <p:spPr>
          <a:xfrm>
            <a:off x="1" y="1926557"/>
            <a:ext cx="9143999" cy="1290387"/>
          </a:xfrm>
          <a:prstGeom prst="rect">
            <a:avLst/>
          </a:prstGeom>
          <a:gradFill flip="none" rotWithShape="1">
            <a:gsLst>
              <a:gs pos="65000">
                <a:schemeClr val="bg1">
                  <a:alpha val="75000"/>
                </a:schemeClr>
              </a:gs>
              <a:gs pos="39000">
                <a:schemeClr val="bg1">
                  <a:alpha val="75000"/>
                </a:schemeClr>
              </a:gs>
              <a:gs pos="8000">
                <a:schemeClr val="accent1">
                  <a:alpha val="0"/>
                </a:schemeClr>
              </a:gs>
              <a:gs pos="96000">
                <a:schemeClr val="accent5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/>
          </a:p>
        </p:txBody>
      </p:sp>
    </p:spTree>
    <p:extLst>
      <p:ext uri="{BB962C8B-B14F-4D97-AF65-F5344CB8AC3E}">
        <p14:creationId xmlns:p14="http://schemas.microsoft.com/office/powerpoint/2010/main" val="4267357310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Title Slide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blipFill dpi="0" rotWithShape="1">
            <a:blip r:embed="rId2">
              <a:alphaModFix amt="45000"/>
              <a:duotone>
                <a:schemeClr val="accent1">
                  <a:shade val="45000"/>
                  <a:satMod val="135000"/>
                </a:schemeClr>
                <a:prstClr val="white"/>
              </a:duotone>
            </a:blip>
            <a:srcRect/>
            <a:tile tx="-44450" ty="38100" sx="85000" sy="85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0" name="Rectangle 9"/>
          <p:cNvSpPr/>
          <p:nvPr/>
        </p:nvSpPr>
        <p:spPr>
          <a:xfrm>
            <a:off x="980902" y="950797"/>
            <a:ext cx="7182197" cy="3230963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</a:ln>
          <a:effectLst>
            <a:outerShdw blurRad="50800" algn="ctr" rotWithShape="0">
              <a:prstClr val="black">
                <a:alpha val="66000"/>
              </a:prstClr>
            </a:outerShdw>
            <a:softEdge rad="0"/>
          </a:effectLst>
        </p:spPr>
      </p:sp>
      <p:sp>
        <p:nvSpPr>
          <p:cNvPr id="11" name="Rectangle 10"/>
          <p:cNvSpPr/>
          <p:nvPr/>
        </p:nvSpPr>
        <p:spPr>
          <a:xfrm>
            <a:off x="1085851" y="1058711"/>
            <a:ext cx="6972300" cy="3026078"/>
          </a:xfrm>
          <a:prstGeom prst="rect">
            <a:avLst/>
          </a:prstGeom>
          <a:noFill/>
          <a:ln w="6350" cap="sq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</a:ln>
          <a:effectLst/>
        </p:spPr>
      </p:sp>
      <p:sp>
        <p:nvSpPr>
          <p:cNvPr id="15" name="Rectangle 14"/>
          <p:cNvSpPr/>
          <p:nvPr/>
        </p:nvSpPr>
        <p:spPr>
          <a:xfrm>
            <a:off x="3851910" y="950798"/>
            <a:ext cx="1440180" cy="5486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4" name="Group 3"/>
          <p:cNvGrpSpPr/>
          <p:nvPr/>
        </p:nvGrpSpPr>
        <p:grpSpPr>
          <a:xfrm>
            <a:off x="3937635" y="950798"/>
            <a:ext cx="1268730" cy="483971"/>
            <a:chOff x="5318306" y="1386268"/>
            <a:chExt cx="1567331" cy="645295"/>
          </a:xfrm>
        </p:grpSpPr>
        <p:cxnSp>
          <p:nvCxnSpPr>
            <p:cNvPr id="17" name="Straight Connector 16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8" name="Straight Connector 17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9" name="Straight Connector 18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1171281" y="1568447"/>
            <a:ext cx="6801440" cy="1943100"/>
          </a:xfrm>
        </p:spPr>
        <p:txBody>
          <a:bodyPr tIns="45720" bIns="45720" anchor="ctr">
            <a:noAutofit/>
          </a:bodyPr>
          <a:lstStyle>
            <a:lvl1pPr algn="ctr">
              <a:lnSpc>
                <a:spcPct val="83000"/>
              </a:lnSpc>
              <a:defRPr lang="en-US" sz="5400" b="0" kern="1200" cap="all" spc="-75" baseline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171575" y="3511547"/>
            <a:ext cx="6803136" cy="342901"/>
          </a:xfrm>
        </p:spPr>
        <p:txBody>
          <a:bodyPr>
            <a:normAutofit/>
          </a:bodyPr>
          <a:lstStyle>
            <a:lvl1pPr marL="0" indent="0" algn="ctr">
              <a:spcBef>
                <a:spcPts val="0"/>
              </a:spcBef>
              <a:buNone/>
              <a:defRPr sz="1200" spc="60" baseline="0">
                <a:solidFill>
                  <a:schemeClr val="tx1"/>
                </a:solidFill>
              </a:defRPr>
            </a:lvl1pPr>
            <a:lvl2pPr marL="342900" indent="0" algn="ctr">
              <a:buNone/>
              <a:defRPr sz="1200"/>
            </a:lvl2pPr>
            <a:lvl3pPr marL="685800" indent="0" algn="ctr">
              <a:buNone/>
              <a:defRPr sz="1200"/>
            </a:lvl3pPr>
            <a:lvl4pPr marL="1028700" indent="0" algn="ctr">
              <a:buNone/>
              <a:defRPr sz="1200"/>
            </a:lvl4pPr>
            <a:lvl5pPr marL="1371600" indent="0" algn="ctr">
              <a:buNone/>
              <a:defRPr sz="1200"/>
            </a:lvl5pPr>
            <a:lvl6pPr marL="1714500" indent="0" algn="ctr">
              <a:buNone/>
              <a:defRPr sz="1200"/>
            </a:lvl6pPr>
            <a:lvl7pPr marL="2057400" indent="0" algn="ctr">
              <a:buNone/>
              <a:defRPr sz="1200"/>
            </a:lvl7pPr>
            <a:lvl8pPr marL="2400300" indent="0" algn="ctr">
              <a:buNone/>
              <a:defRPr sz="1200"/>
            </a:lvl8pPr>
            <a:lvl9pPr marL="2743200" indent="0" algn="ctr">
              <a:buNone/>
              <a:defRPr sz="12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20" name="Date Placeholder 19"/>
          <p:cNvSpPr>
            <a:spLocks noGrp="1"/>
          </p:cNvSpPr>
          <p:nvPr>
            <p:ph type="dt" sz="half" idx="10"/>
          </p:nvPr>
        </p:nvSpPr>
        <p:spPr>
          <a:xfrm>
            <a:off x="3989070" y="1005942"/>
            <a:ext cx="1165860" cy="395410"/>
          </a:xfrm>
        </p:spPr>
        <p:txBody>
          <a:bodyPr/>
          <a:lstStyle>
            <a:lvl1pPr algn="ctr">
              <a:defRPr sz="975" spc="0" baseline="0">
                <a:solidFill>
                  <a:schemeClr val="tx1"/>
                </a:solidFill>
                <a:latin typeface="+mn-lt"/>
              </a:defRPr>
            </a:lvl1pPr>
          </a:lstStyle>
          <a:p>
            <a:fld id="{DDA51639-B2D6-4652-B8C3-1B4C224A7BAF}" type="datetimeFigureOut">
              <a:rPr lang="en-US" dirty="0"/>
              <a:t>9/7/2021</a:t>
            </a:fld>
            <a:endParaRPr lang="en-US" dirty="0"/>
          </a:p>
        </p:txBody>
      </p:sp>
      <p:sp>
        <p:nvSpPr>
          <p:cNvPr id="21" name="Footer Placeholder 20"/>
          <p:cNvSpPr>
            <a:spLocks noGrp="1"/>
          </p:cNvSpPr>
          <p:nvPr>
            <p:ph type="ftr" sz="quarter" idx="11"/>
          </p:nvPr>
        </p:nvSpPr>
        <p:spPr>
          <a:xfrm>
            <a:off x="1090422" y="3908295"/>
            <a:ext cx="4429125" cy="171450"/>
          </a:xfrm>
        </p:spPr>
        <p:txBody>
          <a:bodyPr/>
          <a:lstStyle>
            <a:lvl1pPr algn="l"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22" name="Slide Number Placeholder 21"/>
          <p:cNvSpPr>
            <a:spLocks noGrp="1"/>
          </p:cNvSpPr>
          <p:nvPr>
            <p:ph type="sldNum" sz="quarter" idx="12"/>
          </p:nvPr>
        </p:nvSpPr>
        <p:spPr>
          <a:xfrm>
            <a:off x="6455190" y="3909060"/>
            <a:ext cx="1583911" cy="171450"/>
          </a:xfrm>
        </p:spPr>
        <p:txBody>
          <a:bodyPr/>
          <a:lstStyle>
            <a:lvl1pPr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456637908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2FF5DD9-2C52-442D-92E2-8072C0C3D7CD}" type="datetimeFigureOut">
              <a:rPr lang="en-US" dirty="0"/>
              <a:t>9/7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757333414"/>
      </p:ext>
    </p:extLst>
  </p:cSld>
  <p:clrMapOvr>
    <a:masterClrMapping/>
  </p:clrMapOvr>
  <p:hf sldNum="0"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secHead" preserve="1">
  <p:cSld name="Section Header"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2" name="Rectangle 21"/>
          <p:cNvSpPr/>
          <p:nvPr/>
        </p:nvSpPr>
        <p:spPr>
          <a:xfrm>
            <a:off x="0" y="0"/>
            <a:ext cx="9144000" cy="5143500"/>
          </a:xfrm>
          <a:prstGeom prst="rect">
            <a:avLst/>
          </a:prstGeom>
          <a:blipFill dpi="0" rotWithShape="1">
            <a:blip r:embed="rId2">
              <a:alphaModFix amt="45000"/>
              <a:duotone>
                <a:schemeClr val="accent2">
                  <a:shade val="45000"/>
                  <a:satMod val="135000"/>
                </a:schemeClr>
                <a:prstClr val="white"/>
              </a:duotone>
            </a:blip>
            <a:srcRect/>
            <a:tile tx="-44450" ty="38100" sx="85000" sy="85000" flip="none" algn="tl"/>
          </a:blip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3" name="Rectangle 22"/>
          <p:cNvSpPr/>
          <p:nvPr/>
        </p:nvSpPr>
        <p:spPr>
          <a:xfrm>
            <a:off x="980902" y="950797"/>
            <a:ext cx="7182197" cy="3230963"/>
          </a:xfrm>
          <a:prstGeom prst="rect">
            <a:avLst/>
          </a:prstGeom>
          <a:solidFill>
            <a:schemeClr val="bg1"/>
          </a:solidFill>
          <a:ln w="6350" cap="flat" cmpd="sng" algn="ctr">
            <a:noFill/>
            <a:prstDash val="solid"/>
          </a:ln>
          <a:effectLst>
            <a:outerShdw blurRad="50800" algn="ctr" rotWithShape="0">
              <a:prstClr val="black">
                <a:alpha val="66000"/>
              </a:prstClr>
            </a:outerShdw>
            <a:softEdge rad="0"/>
          </a:effectLst>
        </p:spPr>
      </p:sp>
      <p:sp>
        <p:nvSpPr>
          <p:cNvPr id="24" name="Rectangle 23"/>
          <p:cNvSpPr/>
          <p:nvPr/>
        </p:nvSpPr>
        <p:spPr>
          <a:xfrm>
            <a:off x="1085850" y="1058711"/>
            <a:ext cx="6972300" cy="3026078"/>
          </a:xfrm>
          <a:prstGeom prst="rect">
            <a:avLst/>
          </a:prstGeom>
          <a:noFill/>
          <a:ln w="6350" cap="sq" cmpd="sng" algn="ctr">
            <a:solidFill>
              <a:schemeClr val="tx1">
                <a:lumMod val="75000"/>
                <a:lumOff val="25000"/>
              </a:schemeClr>
            </a:solidFill>
            <a:prstDash val="solid"/>
            <a:miter lim="800000"/>
          </a:ln>
          <a:effectLst/>
        </p:spPr>
      </p:sp>
      <p:sp>
        <p:nvSpPr>
          <p:cNvPr id="30" name="Rectangle 29"/>
          <p:cNvSpPr/>
          <p:nvPr/>
        </p:nvSpPr>
        <p:spPr>
          <a:xfrm>
            <a:off x="3851910" y="950798"/>
            <a:ext cx="1440180" cy="548640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grpSp>
        <p:nvGrpSpPr>
          <p:cNvPr id="31" name="Group 30"/>
          <p:cNvGrpSpPr/>
          <p:nvPr/>
        </p:nvGrpSpPr>
        <p:grpSpPr>
          <a:xfrm>
            <a:off x="3937635" y="950798"/>
            <a:ext cx="1268730" cy="483971"/>
            <a:chOff x="5318306" y="1386268"/>
            <a:chExt cx="1567331" cy="645295"/>
          </a:xfrm>
        </p:grpSpPr>
        <p:cxnSp>
          <p:nvCxnSpPr>
            <p:cNvPr id="32" name="Straight Connector 31"/>
            <p:cNvCxnSpPr/>
            <p:nvPr/>
          </p:nvCxnSpPr>
          <p:spPr>
            <a:xfrm>
              <a:off x="5318306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3" name="Straight Connector 32"/>
            <p:cNvCxnSpPr/>
            <p:nvPr/>
          </p:nvCxnSpPr>
          <p:spPr>
            <a:xfrm>
              <a:off x="6885637" y="1386268"/>
              <a:ext cx="0" cy="64008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34" name="Straight Connector 33"/>
            <p:cNvCxnSpPr/>
            <p:nvPr/>
          </p:nvCxnSpPr>
          <p:spPr>
            <a:xfrm>
              <a:off x="5318306" y="2031563"/>
              <a:ext cx="1567331" cy="0"/>
            </a:xfrm>
            <a:prstGeom prst="line">
              <a:avLst/>
            </a:prstGeom>
            <a:solidFill>
              <a:schemeClr val="tx1">
                <a:lumMod val="85000"/>
                <a:lumOff val="15000"/>
              </a:schemeClr>
            </a:solidFill>
            <a:ln>
              <a:solidFill>
                <a:schemeClr val="tx1"/>
              </a:solidFill>
              <a:miter lim="800000"/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72717" y="1570732"/>
            <a:ext cx="6803136" cy="1940814"/>
          </a:xfrm>
        </p:spPr>
        <p:txBody>
          <a:bodyPr anchor="ctr">
            <a:noAutofit/>
          </a:bodyPr>
          <a:lstStyle>
            <a:lvl1pPr algn="ctr">
              <a:lnSpc>
                <a:spcPct val="83000"/>
              </a:lnSpc>
              <a:defRPr lang="en-US" sz="5400" kern="1200" cap="all" spc="-75" baseline="0" dirty="0">
                <a:solidFill>
                  <a:schemeClr val="tx1">
                    <a:lumMod val="85000"/>
                    <a:lumOff val="15000"/>
                  </a:schemeClr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172718" y="3511547"/>
            <a:ext cx="6803136" cy="342900"/>
          </a:xfrm>
        </p:spPr>
        <p:txBody>
          <a:bodyPr anchor="t">
            <a:normAutofit/>
          </a:bodyPr>
          <a:lstStyle>
            <a:lvl1pPr marL="0" indent="0" algn="ctr">
              <a:buNone/>
              <a:defRPr sz="1200">
                <a:solidFill>
                  <a:schemeClr val="tx1"/>
                </a:solidFill>
                <a:effectLst/>
              </a:defRPr>
            </a:lvl1pPr>
            <a:lvl2pPr marL="3429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2pPr>
            <a:lvl3pPr marL="685800" indent="0">
              <a:buNone/>
              <a:defRPr sz="1200">
                <a:solidFill>
                  <a:schemeClr val="tx1">
                    <a:tint val="75000"/>
                  </a:schemeClr>
                </a:solidFill>
              </a:defRPr>
            </a:lvl3pPr>
            <a:lvl4pPr marL="10287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4pPr>
            <a:lvl5pPr marL="13716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5pPr>
            <a:lvl6pPr marL="17145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6pPr>
            <a:lvl7pPr marL="20574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7pPr>
            <a:lvl8pPr marL="24003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8pPr>
            <a:lvl9pPr marL="2743200" indent="0">
              <a:buNone/>
              <a:defRPr sz="105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3991356" y="1008377"/>
            <a:ext cx="1165860" cy="397764"/>
          </a:xfrm>
        </p:spPr>
        <p:txBody>
          <a:bodyPr/>
          <a:lstStyle>
            <a:lvl1pPr algn="ctr">
              <a:defRPr lang="en-US" sz="975" kern="1200" spc="0" baseline="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</a:lstStyle>
          <a:p>
            <a:fld id="{C44961B7-6B89-48AB-966F-622E2788EECC}" type="datetimeFigureOut">
              <a:rPr lang="en-US" dirty="0"/>
              <a:t>9/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1090165" y="3908295"/>
            <a:ext cx="4430268" cy="171450"/>
          </a:xfrm>
        </p:spPr>
        <p:txBody>
          <a:bodyPr/>
          <a:lstStyle>
            <a:lvl1pPr algn="l">
              <a:defRPr/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6453378" y="3908295"/>
            <a:ext cx="1584198" cy="171450"/>
          </a:xfrm>
        </p:spPr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207115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  <p:hf sldNum="0" hdr="0" ftr="0" dt="0"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800100" y="1577340"/>
            <a:ext cx="3566160" cy="2811780"/>
          </a:xfrm>
        </p:spPr>
        <p:txBody>
          <a:bodyPr/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  <a:lvl6pPr>
              <a:defRPr sz="1050"/>
            </a:lvl6pPr>
            <a:lvl7pPr>
              <a:defRPr sz="1050"/>
            </a:lvl7pPr>
            <a:lvl8pPr>
              <a:defRPr sz="1050"/>
            </a:lvl8pPr>
            <a:lvl9pPr>
              <a:defRPr sz="10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777740" y="1577340"/>
            <a:ext cx="3566160" cy="2811780"/>
          </a:xfrm>
        </p:spPr>
        <p:txBody>
          <a:bodyPr/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  <a:lvl6pPr>
              <a:defRPr sz="1050"/>
            </a:lvl6pPr>
            <a:lvl7pPr>
              <a:defRPr sz="1050"/>
            </a:lvl7pPr>
            <a:lvl8pPr>
              <a:defRPr sz="1050"/>
            </a:lvl8pPr>
            <a:lvl9pPr>
              <a:defRPr sz="10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BD3D6FB-79CC-4683-A046-BBE785BA1BED}" type="datetimeFigureOut">
              <a:rPr lang="en-US" dirty="0"/>
              <a:t>9/7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74956408"/>
      </p:ext>
    </p:extLst>
  </p:cSld>
  <p:clrMapOvr>
    <a:masterClrMapping/>
  </p:clrMapOvr>
  <p:hf sldNum="0" hdr="0" ftr="0" dt="0"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2386" y="1555751"/>
            <a:ext cx="3566160" cy="48006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1425" b="0">
                <a:solidFill>
                  <a:schemeClr val="tx2"/>
                </a:solidFill>
                <a:latin typeface="+mn-lt"/>
              </a:defRPr>
            </a:lvl1pPr>
            <a:lvl2pPr marL="342900" indent="0">
              <a:buNone/>
              <a:defRPr sz="1425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802386" y="2066924"/>
            <a:ext cx="3566160" cy="2400300"/>
          </a:xfrm>
        </p:spPr>
        <p:txBody>
          <a:bodyPr/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  <a:lvl6pPr>
              <a:defRPr sz="1050"/>
            </a:lvl6pPr>
            <a:lvl7pPr>
              <a:defRPr sz="1050"/>
            </a:lvl7pPr>
            <a:lvl8pPr>
              <a:defRPr sz="1050"/>
            </a:lvl8pPr>
            <a:lvl9pPr>
              <a:defRPr sz="10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80026" y="1555751"/>
            <a:ext cx="3566160" cy="480060"/>
          </a:xfrm>
        </p:spPr>
        <p:txBody>
          <a:bodyPr anchor="ctr">
            <a:normAutofit/>
          </a:bodyPr>
          <a:lstStyle>
            <a:lvl1pPr marL="0" indent="0" algn="ctr">
              <a:spcBef>
                <a:spcPts val="0"/>
              </a:spcBef>
              <a:buNone/>
              <a:defRPr sz="1425" b="0">
                <a:solidFill>
                  <a:schemeClr val="tx2"/>
                </a:solidFill>
              </a:defRPr>
            </a:lvl1pPr>
            <a:lvl2pPr marL="342900" indent="0">
              <a:buNone/>
              <a:defRPr sz="1425" b="1"/>
            </a:lvl2pPr>
            <a:lvl3pPr marL="685800" indent="0">
              <a:buNone/>
              <a:defRPr sz="1350" b="1"/>
            </a:lvl3pPr>
            <a:lvl4pPr marL="1028700" indent="0">
              <a:buNone/>
              <a:defRPr sz="1200" b="1"/>
            </a:lvl4pPr>
            <a:lvl5pPr marL="1371600" indent="0">
              <a:buNone/>
              <a:defRPr sz="1200" b="1"/>
            </a:lvl5pPr>
            <a:lvl6pPr marL="1714500" indent="0">
              <a:buNone/>
              <a:defRPr sz="1200" b="1"/>
            </a:lvl6pPr>
            <a:lvl7pPr marL="2057400" indent="0">
              <a:buNone/>
              <a:defRPr sz="1200" b="1"/>
            </a:lvl7pPr>
            <a:lvl8pPr marL="2400300" indent="0">
              <a:buNone/>
              <a:defRPr sz="1200" b="1"/>
            </a:lvl8pPr>
            <a:lvl9pPr marL="2743200" indent="0">
              <a:buNone/>
              <a:defRPr sz="12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80026" y="2067436"/>
            <a:ext cx="3566160" cy="2400300"/>
          </a:xfrm>
        </p:spPr>
        <p:txBody>
          <a:bodyPr/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  <a:lvl6pPr>
              <a:defRPr sz="1050"/>
            </a:lvl6pPr>
            <a:lvl7pPr>
              <a:defRPr sz="1050"/>
            </a:lvl7pPr>
            <a:lvl8pPr>
              <a:defRPr sz="1050"/>
            </a:lvl8pPr>
            <a:lvl9pPr>
              <a:defRPr sz="10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12B3E8-48F1-4B23-8498-D8A04A81EC9C}" type="datetimeFigureOut">
              <a:rPr lang="en-US" dirty="0"/>
              <a:t>9/7/2021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95957317"/>
      </p:ext>
    </p:extLst>
  </p:cSld>
  <p:clrMapOvr>
    <a:masterClrMapping/>
  </p:clrMapOvr>
  <p:hf sldNum="0" hdr="0" ftr="0" dt="0"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0B90D90-AA62-404D-A741-635B4370F9CB}" type="datetimeFigureOut">
              <a:rPr lang="en-US" dirty="0"/>
              <a:t>9/7/2021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508094461"/>
      </p:ext>
    </p:extLst>
  </p:cSld>
  <p:clrMapOvr>
    <a:masterClrMapping/>
  </p:clrMapOvr>
  <p:hf sldNum="0" hdr="0" ftr="0" dt="0"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57002E4-6836-46D1-9DBB-3C27C0DD3A89}" type="datetimeFigureOut">
              <a:rPr lang="en-US" dirty="0"/>
              <a:t>9/7/2021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658922102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6" name="Rectangle 15"/>
          <p:cNvSpPr/>
          <p:nvPr/>
        </p:nvSpPr>
        <p:spPr>
          <a:xfrm>
            <a:off x="184147" y="178308"/>
            <a:ext cx="6398514" cy="4786884"/>
          </a:xfrm>
          <a:prstGeom prst="rect">
            <a:avLst/>
          </a:prstGeom>
          <a:solidFill>
            <a:schemeClr val="bg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15" name="Rectangle 14"/>
          <p:cNvSpPr/>
          <p:nvPr/>
        </p:nvSpPr>
        <p:spPr>
          <a:xfrm>
            <a:off x="6765290" y="178308"/>
            <a:ext cx="2194560" cy="47868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72300" y="455544"/>
            <a:ext cx="1823085" cy="1234440"/>
          </a:xfrm>
        </p:spPr>
        <p:txBody>
          <a:bodyPr anchor="b">
            <a:normAutofit/>
          </a:bodyPr>
          <a:lstStyle>
            <a:lvl1pPr algn="l" defTabSz="6858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2100" b="0" kern="1200" cap="none" spc="0" baseline="0" dirty="0">
                <a:solidFill>
                  <a:srgbClr val="FFFFFF"/>
                </a:solidFill>
                <a:effectLst/>
                <a:latin typeface="+mj-lt"/>
                <a:ea typeface="+mn-ea"/>
                <a:cs typeface="+mn-cs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514350" y="457200"/>
            <a:ext cx="5829300" cy="4000500"/>
          </a:xfrm>
        </p:spPr>
        <p:txBody>
          <a:bodyPr/>
          <a:lstStyle>
            <a:lvl1pPr>
              <a:defRPr sz="1350"/>
            </a:lvl1pPr>
            <a:lvl2pPr>
              <a:defRPr sz="120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  <a:lvl6pPr>
              <a:defRPr sz="1050"/>
            </a:lvl6pPr>
            <a:lvl7pPr>
              <a:defRPr sz="1050"/>
            </a:lvl7pPr>
            <a:lvl8pPr>
              <a:defRPr sz="1050"/>
            </a:lvl8pPr>
            <a:lvl9pPr>
              <a:defRPr sz="105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72300" y="1714500"/>
            <a:ext cx="1823085" cy="2628900"/>
          </a:xfrm>
        </p:spPr>
        <p:txBody>
          <a:bodyPr>
            <a:normAutofit/>
          </a:bodyPr>
          <a:lstStyle>
            <a:lvl1pPr marL="0" indent="0">
              <a:lnSpc>
                <a:spcPct val="110000"/>
              </a:lnSpc>
              <a:spcBef>
                <a:spcPts val="600"/>
              </a:spcBef>
              <a:buNone/>
              <a:defRPr sz="1050">
                <a:solidFill>
                  <a:srgbClr val="FFFFFF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8" name="Date Placeholder 7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F131DD-A141-4471-BCF9-C6073EDD7E20}" type="datetimeFigureOut">
              <a:rPr lang="en-US" dirty="0"/>
              <a:t>9/7/2021</a:t>
            </a:fld>
            <a:endParaRPr lang="en-US" dirty="0"/>
          </a:p>
        </p:txBody>
      </p:sp>
      <p:sp>
        <p:nvSpPr>
          <p:cNvPr id="9" name="Footer Placeholder 8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algn="r">
              <a:defRPr/>
            </a:lvl1pPr>
          </a:lstStyle>
          <a:p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>
          <a:xfrm>
            <a:off x="7795258" y="4667252"/>
            <a:ext cx="1097280" cy="20574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12" name="Rectangle 11"/>
          <p:cNvSpPr/>
          <p:nvPr/>
        </p:nvSpPr>
        <p:spPr>
          <a:xfrm>
            <a:off x="6868160" y="281178"/>
            <a:ext cx="1988820" cy="4581144"/>
          </a:xfrm>
          <a:prstGeom prst="rect">
            <a:avLst/>
          </a:prstGeom>
          <a:noFill/>
          <a:ln w="6350" cap="sq">
            <a:solidFill>
              <a:srgbClr val="FFFFF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3691783020"/>
      </p:ext>
    </p:extLst>
  </p:cSld>
  <p:clrMapOvr>
    <a:masterClrMapping/>
  </p:clrMapOvr>
  <p:hf sldNum="0" hdr="0" ftr="0" dt="0"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65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Rectangle 13"/>
          <p:cNvSpPr/>
          <p:nvPr/>
        </p:nvSpPr>
        <p:spPr>
          <a:xfrm>
            <a:off x="6765290" y="178308"/>
            <a:ext cx="2194560" cy="4786884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972300" y="452628"/>
            <a:ext cx="1824228" cy="1234440"/>
          </a:xfrm>
        </p:spPr>
        <p:txBody>
          <a:bodyPr anchor="b">
            <a:noAutofit/>
          </a:bodyPr>
          <a:lstStyle>
            <a:lvl1pPr algn="l">
              <a:defRPr sz="2100" b="0">
                <a:solidFill>
                  <a:srgbClr val="FFFFFF"/>
                </a:solidFill>
                <a:latin typeface="+mj-lt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171449" y="178308"/>
            <a:ext cx="6398514" cy="4786884"/>
          </a:xfr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txBody>
          <a:bodyPr anchor="t"/>
          <a:lstStyle>
            <a:lvl1pPr marL="0" indent="0">
              <a:buNone/>
              <a:defRPr sz="2400"/>
            </a:lvl1pPr>
            <a:lvl2pPr marL="342900" indent="0">
              <a:buNone/>
              <a:defRPr sz="2100"/>
            </a:lvl2pPr>
            <a:lvl3pPr marL="685800" indent="0">
              <a:buNone/>
              <a:defRPr sz="1800"/>
            </a:lvl3pPr>
            <a:lvl4pPr marL="1028700" indent="0">
              <a:buNone/>
              <a:defRPr sz="1500"/>
            </a:lvl4pPr>
            <a:lvl5pPr marL="1371600" indent="0">
              <a:buNone/>
              <a:defRPr sz="1500"/>
            </a:lvl5pPr>
            <a:lvl6pPr marL="1714500" indent="0">
              <a:buNone/>
              <a:defRPr sz="1500"/>
            </a:lvl6pPr>
            <a:lvl7pPr marL="2057400" indent="0">
              <a:buNone/>
              <a:defRPr sz="1500"/>
            </a:lvl7pPr>
            <a:lvl8pPr marL="2400300" indent="0">
              <a:buNone/>
              <a:defRPr sz="1500"/>
            </a:lvl8pPr>
            <a:lvl9pPr marL="2743200" indent="0">
              <a:buNone/>
              <a:defRPr sz="1500"/>
            </a:lvl9pPr>
          </a:lstStyle>
          <a:p>
            <a:r>
              <a:rPr lang="en-US"/>
              <a:t>Click icon to add picture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972300" y="1714500"/>
            <a:ext cx="1824228" cy="2626614"/>
          </a:xfrm>
        </p:spPr>
        <p:txBody>
          <a:bodyPr>
            <a:normAutofit/>
          </a:bodyPr>
          <a:lstStyle>
            <a:lvl1pPr marL="0" indent="0" algn="l">
              <a:lnSpc>
                <a:spcPct val="110000"/>
              </a:lnSpc>
              <a:spcBef>
                <a:spcPts val="600"/>
              </a:spcBef>
              <a:buNone/>
              <a:defRPr sz="1050">
                <a:solidFill>
                  <a:srgbClr val="FFFFFF"/>
                </a:solidFill>
              </a:defRPr>
            </a:lvl1pPr>
            <a:lvl2pPr marL="342900" indent="0">
              <a:buNone/>
              <a:defRPr sz="900"/>
            </a:lvl2pPr>
            <a:lvl3pPr marL="685800" indent="0">
              <a:buNone/>
              <a:defRPr sz="750"/>
            </a:lvl3pPr>
            <a:lvl4pPr marL="1028700" indent="0">
              <a:buNone/>
              <a:defRPr sz="675"/>
            </a:lvl4pPr>
            <a:lvl5pPr marL="1371600" indent="0">
              <a:buNone/>
              <a:defRPr sz="675"/>
            </a:lvl5pPr>
            <a:lvl6pPr marL="1714500" indent="0">
              <a:buNone/>
              <a:defRPr sz="675"/>
            </a:lvl6pPr>
            <a:lvl7pPr marL="2057400" indent="0">
              <a:buNone/>
              <a:defRPr sz="675"/>
            </a:lvl7pPr>
            <a:lvl8pPr marL="2400300" indent="0">
              <a:buNone/>
              <a:defRPr sz="675"/>
            </a:lvl8pPr>
            <a:lvl9pPr marL="2743200" indent="0">
              <a:buNone/>
              <a:defRPr sz="675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/>
                </a:solidFill>
                <a:effectLst>
                  <a:outerShdw blurRad="12700" dist="6350" dir="2700000" algn="tl" rotWithShape="0">
                    <a:prstClr val="black">
                      <a:alpha val="40000"/>
                    </a:prstClr>
                  </a:outerShdw>
                </a:effectLst>
              </a:defRPr>
            </a:lvl1pPr>
          </a:lstStyle>
          <a:p>
            <a:fld id="{AB334A90-EB03-42F3-8859-2C2B2724C058}" type="datetimeFigureOut">
              <a:rPr lang="en-US" dirty="0"/>
              <a:t>9/7/2021</a:t>
            </a:fld>
            <a:endParaRPr lang="en-US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 marL="0" algn="r" defTabSz="685800" rtl="0" eaLnBrk="1" latinLnBrk="0" hangingPunct="1">
              <a:defRPr lang="en-US" sz="750" kern="1200" dirty="0">
                <a:solidFill>
                  <a:srgbClr val="FFFFFF"/>
                </a:solidFill>
                <a:effectLst>
                  <a:outerShdw blurRad="12700" dist="6350" dir="2700000" algn="tl" rotWithShape="0">
                    <a:prstClr val="black">
                      <a:alpha val="40000"/>
                    </a:prstClr>
                  </a:outerShdw>
                </a:effectLst>
                <a:latin typeface="+mn-lt"/>
                <a:ea typeface="+mn-ea"/>
                <a:cs typeface="+mn-cs"/>
              </a:defRPr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797546" y="4670298"/>
            <a:ext cx="1097280" cy="205740"/>
          </a:xfrm>
        </p:spPr>
        <p:txBody>
          <a:bodyPr/>
          <a:lstStyle>
            <a:lvl1pPr>
              <a:defRPr>
                <a:solidFill>
                  <a:srgbClr val="FFFFFF"/>
                </a:solidFill>
              </a:defRPr>
            </a:lvl1pPr>
          </a:lstStyle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  <p:sp>
        <p:nvSpPr>
          <p:cNvPr id="10" name="Rectangle 9"/>
          <p:cNvSpPr/>
          <p:nvPr/>
        </p:nvSpPr>
        <p:spPr>
          <a:xfrm>
            <a:off x="6868160" y="281178"/>
            <a:ext cx="1988820" cy="4581144"/>
          </a:xfrm>
          <a:prstGeom prst="rect">
            <a:avLst/>
          </a:prstGeom>
          <a:noFill/>
          <a:ln w="6350" cap="sq">
            <a:solidFill>
              <a:srgbClr val="FFFFFF"/>
            </a:solidFill>
            <a:miter lim="800000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</p:spTree>
    <p:extLst>
      <p:ext uri="{BB962C8B-B14F-4D97-AF65-F5344CB8AC3E}">
        <p14:creationId xmlns:p14="http://schemas.microsoft.com/office/powerpoint/2010/main" val="98335936"/>
      </p:ext>
    </p:extLst>
  </p:cSld>
  <p:clrMapOvr>
    <a:masterClrMapping/>
  </p:clrMapOvr>
  <p:hf sldNum="0" hdr="0" ftr="0" dt="0"/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11A6AA8-A04B-4104-9AE2-BD48D340E27F}" type="datetimeFigureOut">
              <a:rPr lang="en-US" dirty="0"/>
              <a:t>9/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733670659"/>
      </p:ext>
    </p:extLst>
  </p:cSld>
  <p:clrMapOvr>
    <a:masterClrMapping/>
  </p:clrMapOvr>
  <p:hf sldNum="0" hdr="0" ftr="0" dt="0"/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743700" y="571500"/>
            <a:ext cx="1771650" cy="3943350"/>
          </a:xfrm>
        </p:spPr>
        <p:txBody>
          <a:bodyPr vert="eaVert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28650" y="571500"/>
            <a:ext cx="6057900" cy="39433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4E0BF79-FAC6-4A96-8DE1-F7B82E2E1652}" type="datetimeFigureOut">
              <a:rPr lang="en-US" dirty="0"/>
              <a:t>9/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dirty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2488657"/>
      </p:ext>
    </p:extLst>
  </p:cSld>
  <p:clrMapOvr>
    <a:masterClrMapping/>
  </p:clrMapOvr>
  <p:hf sldNum="0" hdr="0" ftr="0" dt="0"/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design 2">
  <p:cSld name="Title design 2">
    <p:bg>
      <p:bgPr>
        <a:solidFill>
          <a:schemeClr val="dk2"/>
        </a:solidFill>
        <a:effectLst/>
      </p:bgPr>
    </p:bg>
    <p:spTree>
      <p:nvGrpSpPr>
        <p:cNvPr id="1" name="Shape 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Google Shape;130;p21"/>
          <p:cNvSpPr txBox="1">
            <a:spLocks noGrp="1"/>
          </p:cNvSpPr>
          <p:nvPr>
            <p:ph type="title"/>
          </p:nvPr>
        </p:nvSpPr>
        <p:spPr>
          <a:xfrm>
            <a:off x="2092450" y="445025"/>
            <a:ext cx="63318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 b="0">
                <a:latin typeface="Source Sans Pro SemiBold"/>
                <a:ea typeface="Source Sans Pro SemiBold"/>
                <a:cs typeface="Source Sans Pro SemiBold"/>
                <a:sym typeface="Source Sans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784133589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slide" type="title">
  <p:cSld name="Title slide">
    <p:spTree>
      <p:nvGrpSpPr>
        <p:cNvPr id="1" name="Shape 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9" name="Google Shape;9;p2"/>
          <p:cNvGrpSpPr/>
          <p:nvPr/>
        </p:nvGrpSpPr>
        <p:grpSpPr>
          <a:xfrm>
            <a:off x="-1517309" y="-725460"/>
            <a:ext cx="10851642" cy="6574922"/>
            <a:chOff x="-1517309" y="-725460"/>
            <a:chExt cx="10851642" cy="6574922"/>
          </a:xfrm>
        </p:grpSpPr>
        <p:grpSp>
          <p:nvGrpSpPr>
            <p:cNvPr id="10" name="Google Shape;10;p2"/>
            <p:cNvGrpSpPr/>
            <p:nvPr/>
          </p:nvGrpSpPr>
          <p:grpSpPr>
            <a:xfrm rot="4499978">
              <a:off x="-1018971" y="917510"/>
              <a:ext cx="4433617" cy="4433833"/>
              <a:chOff x="238125" y="2189800"/>
              <a:chExt cx="1119325" cy="1119325"/>
            </a:xfrm>
          </p:grpSpPr>
          <p:sp>
            <p:nvSpPr>
              <p:cNvPr id="11" name="Google Shape;11;p2"/>
              <p:cNvSpPr/>
              <p:nvPr/>
            </p:nvSpPr>
            <p:spPr>
              <a:xfrm>
                <a:off x="289900" y="2241600"/>
                <a:ext cx="267950" cy="267950"/>
              </a:xfrm>
              <a:custGeom>
                <a:avLst/>
                <a:gdLst/>
                <a:ahLst/>
                <a:cxnLst/>
                <a:rect l="l" t="t" r="r" b="b"/>
                <a:pathLst>
                  <a:path w="10718" h="10718" extrusionOk="0">
                    <a:moveTo>
                      <a:pt x="10717" y="1"/>
                    </a:moveTo>
                    <a:lnTo>
                      <a:pt x="10717" y="1"/>
                    </a:lnTo>
                    <a:cubicBezTo>
                      <a:pt x="8382" y="1104"/>
                      <a:pt x="6257" y="2604"/>
                      <a:pt x="4431" y="4431"/>
                    </a:cubicBezTo>
                    <a:cubicBezTo>
                      <a:pt x="2604" y="6255"/>
                      <a:pt x="1106" y="8382"/>
                      <a:pt x="1" y="10717"/>
                    </a:cubicBezTo>
                    <a:lnTo>
                      <a:pt x="10717" y="1"/>
                    </a:lnTo>
                    <a:close/>
                  </a:path>
                </a:pathLst>
              </a:custGeom>
              <a:solidFill>
                <a:schemeClr val="dk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2" name="Google Shape;12;p2"/>
              <p:cNvSpPr/>
              <p:nvPr/>
            </p:nvSpPr>
            <p:spPr>
              <a:xfrm>
                <a:off x="238275" y="2189975"/>
                <a:ext cx="511350" cy="511375"/>
              </a:xfrm>
              <a:custGeom>
                <a:avLst/>
                <a:gdLst/>
                <a:ahLst/>
                <a:cxnLst/>
                <a:rect l="l" t="t" r="r" b="b"/>
                <a:pathLst>
                  <a:path w="20454" h="20455" extrusionOk="0">
                    <a:moveTo>
                      <a:pt x="20453" y="1"/>
                    </a:moveTo>
                    <a:lnTo>
                      <a:pt x="20453" y="1"/>
                    </a:lnTo>
                    <a:cubicBezTo>
                      <a:pt x="19736" y="63"/>
                      <a:pt x="19023" y="158"/>
                      <a:pt x="18312" y="287"/>
                    </a:cubicBezTo>
                    <a:lnTo>
                      <a:pt x="289" y="18312"/>
                    </a:lnTo>
                    <a:cubicBezTo>
                      <a:pt x="159" y="19023"/>
                      <a:pt x="63" y="19736"/>
                      <a:pt x="1" y="20455"/>
                    </a:cubicBezTo>
                    <a:lnTo>
                      <a:pt x="20453" y="1"/>
                    </a:lnTo>
                    <a:close/>
                  </a:path>
                </a:pathLst>
              </a:custGeom>
              <a:solidFill>
                <a:schemeClr val="dk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3" name="Google Shape;13;p2"/>
              <p:cNvSpPr/>
              <p:nvPr/>
            </p:nvSpPr>
            <p:spPr>
              <a:xfrm>
                <a:off x="238125" y="2189800"/>
                <a:ext cx="646975" cy="646950"/>
              </a:xfrm>
              <a:custGeom>
                <a:avLst/>
                <a:gdLst/>
                <a:ahLst/>
                <a:cxnLst/>
                <a:rect l="l" t="t" r="r" b="b"/>
                <a:pathLst>
                  <a:path w="25879" h="25878" extrusionOk="0">
                    <a:moveTo>
                      <a:pt x="24220" y="1"/>
                    </a:moveTo>
                    <a:lnTo>
                      <a:pt x="0" y="24221"/>
                    </a:lnTo>
                    <a:cubicBezTo>
                      <a:pt x="46" y="24774"/>
                      <a:pt x="111" y="25327"/>
                      <a:pt x="197" y="25877"/>
                    </a:cubicBezTo>
                    <a:lnTo>
                      <a:pt x="25878" y="197"/>
                    </a:lnTo>
                    <a:cubicBezTo>
                      <a:pt x="25328" y="111"/>
                      <a:pt x="24775" y="45"/>
                      <a:pt x="24220" y="1"/>
                    </a:cubicBezTo>
                    <a:close/>
                  </a:path>
                </a:pathLst>
              </a:custGeom>
              <a:solidFill>
                <a:schemeClr val="dk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4" name="Google Shape;14;p2"/>
              <p:cNvSpPr/>
              <p:nvPr/>
            </p:nvSpPr>
            <p:spPr>
              <a:xfrm>
                <a:off x="260500" y="2212175"/>
                <a:ext cx="735575" cy="735575"/>
              </a:xfrm>
              <a:custGeom>
                <a:avLst/>
                <a:gdLst/>
                <a:ahLst/>
                <a:cxnLst/>
                <a:rect l="l" t="t" r="r" b="b"/>
                <a:pathLst>
                  <a:path w="29423" h="29423" extrusionOk="0">
                    <a:moveTo>
                      <a:pt x="28037" y="0"/>
                    </a:moveTo>
                    <a:lnTo>
                      <a:pt x="1" y="28036"/>
                    </a:lnTo>
                    <a:cubicBezTo>
                      <a:pt x="143" y="28502"/>
                      <a:pt x="298" y="28964"/>
                      <a:pt x="470" y="29423"/>
                    </a:cubicBezTo>
                    <a:lnTo>
                      <a:pt x="29422" y="471"/>
                    </a:lnTo>
                    <a:cubicBezTo>
                      <a:pt x="28965" y="299"/>
                      <a:pt x="28503" y="142"/>
                      <a:pt x="28037" y="0"/>
                    </a:cubicBezTo>
                    <a:close/>
                  </a:path>
                </a:pathLst>
              </a:custGeom>
              <a:solidFill>
                <a:schemeClr val="dk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5" name="Google Shape;15;p2"/>
              <p:cNvSpPr/>
              <p:nvPr/>
            </p:nvSpPr>
            <p:spPr>
              <a:xfrm>
                <a:off x="301425" y="2253075"/>
                <a:ext cx="788775" cy="788825"/>
              </a:xfrm>
              <a:custGeom>
                <a:avLst/>
                <a:gdLst/>
                <a:ahLst/>
                <a:cxnLst/>
                <a:rect l="l" t="t" r="r" b="b"/>
                <a:pathLst>
                  <a:path w="31551" h="31553" extrusionOk="0">
                    <a:moveTo>
                      <a:pt x="30370" y="1"/>
                    </a:moveTo>
                    <a:lnTo>
                      <a:pt x="0" y="30371"/>
                    </a:lnTo>
                    <a:cubicBezTo>
                      <a:pt x="211" y="30770"/>
                      <a:pt x="436" y="31164"/>
                      <a:pt x="675" y="31552"/>
                    </a:cubicBezTo>
                    <a:lnTo>
                      <a:pt x="31551" y="675"/>
                    </a:lnTo>
                    <a:cubicBezTo>
                      <a:pt x="31163" y="437"/>
                      <a:pt x="30770" y="213"/>
                      <a:pt x="30370" y="1"/>
                    </a:cubicBezTo>
                    <a:close/>
                  </a:path>
                </a:pathLst>
              </a:custGeom>
              <a:solidFill>
                <a:schemeClr val="dk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6" name="Google Shape;16;p2"/>
              <p:cNvSpPr/>
              <p:nvPr/>
            </p:nvSpPr>
            <p:spPr>
              <a:xfrm>
                <a:off x="356800" y="2308450"/>
                <a:ext cx="813925" cy="813925"/>
              </a:xfrm>
              <a:custGeom>
                <a:avLst/>
                <a:gdLst/>
                <a:ahLst/>
                <a:cxnLst/>
                <a:rect l="l" t="t" r="r" b="b"/>
                <a:pathLst>
                  <a:path w="32557" h="32557" extrusionOk="0">
                    <a:moveTo>
                      <a:pt x="31547" y="1"/>
                    </a:moveTo>
                    <a:lnTo>
                      <a:pt x="0" y="31549"/>
                    </a:lnTo>
                    <a:cubicBezTo>
                      <a:pt x="270" y="31890"/>
                      <a:pt x="552" y="32227"/>
                      <a:pt x="846" y="32556"/>
                    </a:cubicBezTo>
                    <a:lnTo>
                      <a:pt x="32556" y="848"/>
                    </a:lnTo>
                    <a:cubicBezTo>
                      <a:pt x="32226" y="554"/>
                      <a:pt x="31890" y="272"/>
                      <a:pt x="3154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7" name="Google Shape;17;p2"/>
              <p:cNvSpPr/>
              <p:nvPr/>
            </p:nvSpPr>
            <p:spPr>
              <a:xfrm>
                <a:off x="424825" y="2376525"/>
                <a:ext cx="813925" cy="813925"/>
              </a:xfrm>
              <a:custGeom>
                <a:avLst/>
                <a:gdLst/>
                <a:ahLst/>
                <a:cxnLst/>
                <a:rect l="l" t="t" r="r" b="b"/>
                <a:pathLst>
                  <a:path w="32557" h="32557" extrusionOk="0">
                    <a:moveTo>
                      <a:pt x="31711" y="1"/>
                    </a:moveTo>
                    <a:lnTo>
                      <a:pt x="1" y="31709"/>
                    </a:lnTo>
                    <a:cubicBezTo>
                      <a:pt x="331" y="32003"/>
                      <a:pt x="667" y="32286"/>
                      <a:pt x="1010" y="32556"/>
                    </a:cubicBezTo>
                    <a:lnTo>
                      <a:pt x="32557" y="1010"/>
                    </a:lnTo>
                    <a:cubicBezTo>
                      <a:pt x="32287" y="667"/>
                      <a:pt x="32005" y="330"/>
                      <a:pt x="31711" y="1"/>
                    </a:cubicBezTo>
                    <a:close/>
                  </a:path>
                </a:pathLst>
              </a:custGeom>
              <a:solidFill>
                <a:schemeClr val="dk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8" name="Google Shape;18;p2"/>
              <p:cNvSpPr/>
              <p:nvPr/>
            </p:nvSpPr>
            <p:spPr>
              <a:xfrm>
                <a:off x="505350" y="2457000"/>
                <a:ext cx="788775" cy="788875"/>
              </a:xfrm>
              <a:custGeom>
                <a:avLst/>
                <a:gdLst/>
                <a:ahLst/>
                <a:cxnLst/>
                <a:rect l="l" t="t" r="r" b="b"/>
                <a:pathLst>
                  <a:path w="31551" h="31555" extrusionOk="0">
                    <a:moveTo>
                      <a:pt x="30878" y="1"/>
                    </a:moveTo>
                    <a:lnTo>
                      <a:pt x="0" y="30879"/>
                    </a:lnTo>
                    <a:cubicBezTo>
                      <a:pt x="388" y="31116"/>
                      <a:pt x="782" y="31340"/>
                      <a:pt x="1181" y="31554"/>
                    </a:cubicBezTo>
                    <a:lnTo>
                      <a:pt x="31551" y="1182"/>
                    </a:lnTo>
                    <a:cubicBezTo>
                      <a:pt x="31340" y="783"/>
                      <a:pt x="31116" y="389"/>
                      <a:pt x="30878" y="1"/>
                    </a:cubicBezTo>
                    <a:close/>
                  </a:path>
                </a:pathLst>
              </a:custGeom>
              <a:solidFill>
                <a:schemeClr val="dk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19" name="Google Shape;19;p2"/>
              <p:cNvSpPr/>
              <p:nvPr/>
            </p:nvSpPr>
            <p:spPr>
              <a:xfrm>
                <a:off x="599500" y="2551175"/>
                <a:ext cx="735550" cy="735550"/>
              </a:xfrm>
              <a:custGeom>
                <a:avLst/>
                <a:gdLst/>
                <a:ahLst/>
                <a:cxnLst/>
                <a:rect l="l" t="t" r="r" b="b"/>
                <a:pathLst>
                  <a:path w="29422" h="29422" extrusionOk="0">
                    <a:moveTo>
                      <a:pt x="28952" y="1"/>
                    </a:moveTo>
                    <a:lnTo>
                      <a:pt x="0" y="28953"/>
                    </a:lnTo>
                    <a:cubicBezTo>
                      <a:pt x="457" y="29125"/>
                      <a:pt x="919" y="29282"/>
                      <a:pt x="1385" y="29422"/>
                    </a:cubicBezTo>
                    <a:lnTo>
                      <a:pt x="29421" y="1386"/>
                    </a:lnTo>
                    <a:cubicBezTo>
                      <a:pt x="29281" y="920"/>
                      <a:pt x="29124" y="458"/>
                      <a:pt x="28952" y="1"/>
                    </a:cubicBezTo>
                    <a:close/>
                  </a:path>
                </a:pathLst>
              </a:custGeom>
              <a:solidFill>
                <a:schemeClr val="dk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0" name="Google Shape;20;p2"/>
              <p:cNvSpPr/>
              <p:nvPr/>
            </p:nvSpPr>
            <p:spPr>
              <a:xfrm>
                <a:off x="710450" y="2662150"/>
                <a:ext cx="647000" cy="646975"/>
              </a:xfrm>
              <a:custGeom>
                <a:avLst/>
                <a:gdLst/>
                <a:ahLst/>
                <a:cxnLst/>
                <a:rect l="l" t="t" r="r" b="b"/>
                <a:pathLst>
                  <a:path w="25880" h="25879" extrusionOk="0">
                    <a:moveTo>
                      <a:pt x="25682" y="1"/>
                    </a:moveTo>
                    <a:lnTo>
                      <a:pt x="1" y="25681"/>
                    </a:lnTo>
                    <a:cubicBezTo>
                      <a:pt x="552" y="25767"/>
                      <a:pt x="1104" y="25833"/>
                      <a:pt x="1659" y="25879"/>
                    </a:cubicBezTo>
                    <a:lnTo>
                      <a:pt x="25879" y="1659"/>
                    </a:lnTo>
                    <a:cubicBezTo>
                      <a:pt x="25834" y="1104"/>
                      <a:pt x="25768" y="551"/>
                      <a:pt x="25682" y="1"/>
                    </a:cubicBezTo>
                    <a:close/>
                  </a:path>
                </a:pathLst>
              </a:custGeom>
              <a:solidFill>
                <a:schemeClr val="dk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1" name="Google Shape;21;p2"/>
              <p:cNvSpPr/>
              <p:nvPr/>
            </p:nvSpPr>
            <p:spPr>
              <a:xfrm>
                <a:off x="845925" y="2797575"/>
                <a:ext cx="511350" cy="511350"/>
              </a:xfrm>
              <a:custGeom>
                <a:avLst/>
                <a:gdLst/>
                <a:ahLst/>
                <a:cxnLst/>
                <a:rect l="l" t="t" r="r" b="b"/>
                <a:pathLst>
                  <a:path w="20454" h="20454" extrusionOk="0">
                    <a:moveTo>
                      <a:pt x="20453" y="1"/>
                    </a:moveTo>
                    <a:lnTo>
                      <a:pt x="1" y="20453"/>
                    </a:lnTo>
                    <a:cubicBezTo>
                      <a:pt x="718" y="20391"/>
                      <a:pt x="1431" y="20297"/>
                      <a:pt x="2142" y="20167"/>
                    </a:cubicBezTo>
                    <a:lnTo>
                      <a:pt x="20165" y="2142"/>
                    </a:lnTo>
                    <a:cubicBezTo>
                      <a:pt x="20295" y="1433"/>
                      <a:pt x="20391" y="720"/>
                      <a:pt x="20453" y="1"/>
                    </a:cubicBezTo>
                    <a:close/>
                  </a:path>
                </a:pathLst>
              </a:custGeom>
              <a:solidFill>
                <a:schemeClr val="dk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2" name="Google Shape;22;p2"/>
              <p:cNvSpPr/>
              <p:nvPr/>
            </p:nvSpPr>
            <p:spPr>
              <a:xfrm>
                <a:off x="1037700" y="2989400"/>
                <a:ext cx="267950" cy="267900"/>
              </a:xfrm>
              <a:custGeom>
                <a:avLst/>
                <a:gdLst/>
                <a:ahLst/>
                <a:cxnLst/>
                <a:rect l="l" t="t" r="r" b="b"/>
                <a:pathLst>
                  <a:path w="10718" h="10716" extrusionOk="0">
                    <a:moveTo>
                      <a:pt x="10717" y="1"/>
                    </a:moveTo>
                    <a:lnTo>
                      <a:pt x="1" y="10715"/>
                    </a:lnTo>
                    <a:cubicBezTo>
                      <a:pt x="4703" y="8488"/>
                      <a:pt x="8489" y="4703"/>
                      <a:pt x="10717" y="1"/>
                    </a:cubicBezTo>
                    <a:close/>
                  </a:path>
                </a:pathLst>
              </a:custGeom>
              <a:solidFill>
                <a:schemeClr val="dk2"/>
              </a:solidFill>
              <a:ln w="9525" cap="flat" cmpd="sng">
                <a:solidFill>
                  <a:schemeClr val="dk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23" name="Google Shape;23;p2"/>
            <p:cNvSpPr/>
            <p:nvPr/>
          </p:nvSpPr>
          <p:spPr>
            <a:xfrm rot="10800000" flipH="1">
              <a:off x="-2275" y="-21700"/>
              <a:ext cx="3868800" cy="2280600"/>
            </a:xfrm>
            <a:prstGeom prst="rtTriangle">
              <a:avLst/>
            </a:prstGeom>
            <a:solidFill>
              <a:schemeClr val="accent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cxnSp>
          <p:nvCxnSpPr>
            <p:cNvPr id="24" name="Google Shape;24;p2"/>
            <p:cNvCxnSpPr/>
            <p:nvPr/>
          </p:nvCxnSpPr>
          <p:spPr>
            <a:xfrm flipH="1">
              <a:off x="941839" y="-149526"/>
              <a:ext cx="2743800" cy="1609500"/>
            </a:xfrm>
            <a:prstGeom prst="straightConnector1">
              <a:avLst/>
            </a:prstGeom>
            <a:noFill/>
            <a:ln w="28575" cap="flat" cmpd="sng">
              <a:solidFill>
                <a:schemeClr val="lt1"/>
              </a:solidFill>
              <a:prstDash val="lgDash"/>
              <a:round/>
              <a:headEnd type="none" w="med" len="med"/>
              <a:tailEnd type="none" w="med" len="med"/>
            </a:ln>
          </p:spPr>
        </p:cxnSp>
        <p:grpSp>
          <p:nvGrpSpPr>
            <p:cNvPr id="25" name="Google Shape;25;p2"/>
            <p:cNvGrpSpPr/>
            <p:nvPr/>
          </p:nvGrpSpPr>
          <p:grpSpPr>
            <a:xfrm rot="5400000">
              <a:off x="7035631" y="-725516"/>
              <a:ext cx="2298646" cy="2298758"/>
              <a:chOff x="238125" y="2189800"/>
              <a:chExt cx="1119325" cy="1119325"/>
            </a:xfrm>
          </p:grpSpPr>
          <p:sp>
            <p:nvSpPr>
              <p:cNvPr id="26" name="Google Shape;26;p2"/>
              <p:cNvSpPr/>
              <p:nvPr/>
            </p:nvSpPr>
            <p:spPr>
              <a:xfrm>
                <a:off x="289900" y="2241600"/>
                <a:ext cx="267950" cy="267950"/>
              </a:xfrm>
              <a:custGeom>
                <a:avLst/>
                <a:gdLst/>
                <a:ahLst/>
                <a:cxnLst/>
                <a:rect l="l" t="t" r="r" b="b"/>
                <a:pathLst>
                  <a:path w="10718" h="10718" extrusionOk="0">
                    <a:moveTo>
                      <a:pt x="10717" y="1"/>
                    </a:moveTo>
                    <a:lnTo>
                      <a:pt x="10717" y="1"/>
                    </a:lnTo>
                    <a:cubicBezTo>
                      <a:pt x="8382" y="1104"/>
                      <a:pt x="6257" y="2604"/>
                      <a:pt x="4431" y="4431"/>
                    </a:cubicBezTo>
                    <a:cubicBezTo>
                      <a:pt x="2604" y="6255"/>
                      <a:pt x="1106" y="8382"/>
                      <a:pt x="1" y="10717"/>
                    </a:cubicBezTo>
                    <a:lnTo>
                      <a:pt x="10717" y="1"/>
                    </a:lnTo>
                    <a:close/>
                  </a:path>
                </a:pathLst>
              </a:custGeom>
              <a:solidFill>
                <a:schemeClr val="lt2"/>
              </a:solidFill>
              <a:ln w="9525" cap="flat" cmpd="sng">
                <a:solidFill>
                  <a:schemeClr val="lt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7" name="Google Shape;27;p2"/>
              <p:cNvSpPr/>
              <p:nvPr/>
            </p:nvSpPr>
            <p:spPr>
              <a:xfrm>
                <a:off x="238275" y="2189975"/>
                <a:ext cx="511350" cy="511375"/>
              </a:xfrm>
              <a:custGeom>
                <a:avLst/>
                <a:gdLst/>
                <a:ahLst/>
                <a:cxnLst/>
                <a:rect l="l" t="t" r="r" b="b"/>
                <a:pathLst>
                  <a:path w="20454" h="20455" extrusionOk="0">
                    <a:moveTo>
                      <a:pt x="20453" y="1"/>
                    </a:moveTo>
                    <a:lnTo>
                      <a:pt x="20453" y="1"/>
                    </a:lnTo>
                    <a:cubicBezTo>
                      <a:pt x="19736" y="63"/>
                      <a:pt x="19023" y="158"/>
                      <a:pt x="18312" y="287"/>
                    </a:cubicBezTo>
                    <a:lnTo>
                      <a:pt x="289" y="18312"/>
                    </a:lnTo>
                    <a:cubicBezTo>
                      <a:pt x="159" y="19023"/>
                      <a:pt x="63" y="19736"/>
                      <a:pt x="1" y="20455"/>
                    </a:cubicBezTo>
                    <a:lnTo>
                      <a:pt x="20453" y="1"/>
                    </a:lnTo>
                    <a:close/>
                  </a:path>
                </a:pathLst>
              </a:custGeom>
              <a:solidFill>
                <a:schemeClr val="lt2"/>
              </a:solidFill>
              <a:ln w="9525" cap="flat" cmpd="sng">
                <a:solidFill>
                  <a:schemeClr val="lt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8" name="Google Shape;28;p2"/>
              <p:cNvSpPr/>
              <p:nvPr/>
            </p:nvSpPr>
            <p:spPr>
              <a:xfrm>
                <a:off x="238125" y="2189800"/>
                <a:ext cx="646975" cy="646950"/>
              </a:xfrm>
              <a:custGeom>
                <a:avLst/>
                <a:gdLst/>
                <a:ahLst/>
                <a:cxnLst/>
                <a:rect l="l" t="t" r="r" b="b"/>
                <a:pathLst>
                  <a:path w="25879" h="25878" extrusionOk="0">
                    <a:moveTo>
                      <a:pt x="24220" y="1"/>
                    </a:moveTo>
                    <a:lnTo>
                      <a:pt x="0" y="24221"/>
                    </a:lnTo>
                    <a:cubicBezTo>
                      <a:pt x="46" y="24774"/>
                      <a:pt x="111" y="25327"/>
                      <a:pt x="197" y="25877"/>
                    </a:cubicBezTo>
                    <a:lnTo>
                      <a:pt x="25878" y="197"/>
                    </a:lnTo>
                    <a:cubicBezTo>
                      <a:pt x="25328" y="111"/>
                      <a:pt x="24775" y="45"/>
                      <a:pt x="24220" y="1"/>
                    </a:cubicBezTo>
                    <a:close/>
                  </a:path>
                </a:pathLst>
              </a:custGeom>
              <a:solidFill>
                <a:schemeClr val="lt2"/>
              </a:solidFill>
              <a:ln w="9525" cap="flat" cmpd="sng">
                <a:solidFill>
                  <a:schemeClr val="lt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29" name="Google Shape;29;p2"/>
              <p:cNvSpPr/>
              <p:nvPr/>
            </p:nvSpPr>
            <p:spPr>
              <a:xfrm>
                <a:off x="260500" y="2212175"/>
                <a:ext cx="735575" cy="735575"/>
              </a:xfrm>
              <a:custGeom>
                <a:avLst/>
                <a:gdLst/>
                <a:ahLst/>
                <a:cxnLst/>
                <a:rect l="l" t="t" r="r" b="b"/>
                <a:pathLst>
                  <a:path w="29423" h="29423" extrusionOk="0">
                    <a:moveTo>
                      <a:pt x="28037" y="0"/>
                    </a:moveTo>
                    <a:lnTo>
                      <a:pt x="1" y="28036"/>
                    </a:lnTo>
                    <a:cubicBezTo>
                      <a:pt x="143" y="28502"/>
                      <a:pt x="298" y="28964"/>
                      <a:pt x="470" y="29423"/>
                    </a:cubicBezTo>
                    <a:lnTo>
                      <a:pt x="29422" y="471"/>
                    </a:lnTo>
                    <a:cubicBezTo>
                      <a:pt x="28965" y="299"/>
                      <a:pt x="28503" y="142"/>
                      <a:pt x="28037" y="0"/>
                    </a:cubicBezTo>
                    <a:close/>
                  </a:path>
                </a:pathLst>
              </a:custGeom>
              <a:solidFill>
                <a:schemeClr val="lt2"/>
              </a:solidFill>
              <a:ln w="9525" cap="flat" cmpd="sng">
                <a:solidFill>
                  <a:schemeClr val="lt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0" name="Google Shape;30;p2"/>
              <p:cNvSpPr/>
              <p:nvPr/>
            </p:nvSpPr>
            <p:spPr>
              <a:xfrm>
                <a:off x="301425" y="2253075"/>
                <a:ext cx="788775" cy="788825"/>
              </a:xfrm>
              <a:custGeom>
                <a:avLst/>
                <a:gdLst/>
                <a:ahLst/>
                <a:cxnLst/>
                <a:rect l="l" t="t" r="r" b="b"/>
                <a:pathLst>
                  <a:path w="31551" h="31553" extrusionOk="0">
                    <a:moveTo>
                      <a:pt x="30370" y="1"/>
                    </a:moveTo>
                    <a:lnTo>
                      <a:pt x="0" y="30371"/>
                    </a:lnTo>
                    <a:cubicBezTo>
                      <a:pt x="211" y="30770"/>
                      <a:pt x="436" y="31164"/>
                      <a:pt x="675" y="31552"/>
                    </a:cubicBezTo>
                    <a:lnTo>
                      <a:pt x="31551" y="675"/>
                    </a:lnTo>
                    <a:cubicBezTo>
                      <a:pt x="31163" y="437"/>
                      <a:pt x="30770" y="213"/>
                      <a:pt x="30370" y="1"/>
                    </a:cubicBezTo>
                    <a:close/>
                  </a:path>
                </a:pathLst>
              </a:custGeom>
              <a:solidFill>
                <a:schemeClr val="lt2"/>
              </a:solidFill>
              <a:ln w="9525" cap="flat" cmpd="sng">
                <a:solidFill>
                  <a:schemeClr val="lt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1" name="Google Shape;31;p2"/>
              <p:cNvSpPr/>
              <p:nvPr/>
            </p:nvSpPr>
            <p:spPr>
              <a:xfrm>
                <a:off x="356800" y="2308450"/>
                <a:ext cx="813925" cy="813925"/>
              </a:xfrm>
              <a:custGeom>
                <a:avLst/>
                <a:gdLst/>
                <a:ahLst/>
                <a:cxnLst/>
                <a:rect l="l" t="t" r="r" b="b"/>
                <a:pathLst>
                  <a:path w="32557" h="32557" extrusionOk="0">
                    <a:moveTo>
                      <a:pt x="31547" y="1"/>
                    </a:moveTo>
                    <a:lnTo>
                      <a:pt x="0" y="31549"/>
                    </a:lnTo>
                    <a:cubicBezTo>
                      <a:pt x="270" y="31890"/>
                      <a:pt x="552" y="32227"/>
                      <a:pt x="846" y="32556"/>
                    </a:cubicBezTo>
                    <a:lnTo>
                      <a:pt x="32556" y="848"/>
                    </a:lnTo>
                    <a:cubicBezTo>
                      <a:pt x="32226" y="554"/>
                      <a:pt x="31890" y="272"/>
                      <a:pt x="31547" y="1"/>
                    </a:cubicBezTo>
                    <a:close/>
                  </a:path>
                </a:pathLst>
              </a:custGeom>
              <a:solidFill>
                <a:schemeClr val="lt2"/>
              </a:solidFill>
              <a:ln w="9525" cap="flat" cmpd="sng">
                <a:solidFill>
                  <a:schemeClr val="lt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2" name="Google Shape;32;p2"/>
              <p:cNvSpPr/>
              <p:nvPr/>
            </p:nvSpPr>
            <p:spPr>
              <a:xfrm>
                <a:off x="424825" y="2376525"/>
                <a:ext cx="813925" cy="813925"/>
              </a:xfrm>
              <a:custGeom>
                <a:avLst/>
                <a:gdLst/>
                <a:ahLst/>
                <a:cxnLst/>
                <a:rect l="l" t="t" r="r" b="b"/>
                <a:pathLst>
                  <a:path w="32557" h="32557" extrusionOk="0">
                    <a:moveTo>
                      <a:pt x="31711" y="1"/>
                    </a:moveTo>
                    <a:lnTo>
                      <a:pt x="1" y="31709"/>
                    </a:lnTo>
                    <a:cubicBezTo>
                      <a:pt x="331" y="32003"/>
                      <a:pt x="667" y="32286"/>
                      <a:pt x="1010" y="32556"/>
                    </a:cubicBezTo>
                    <a:lnTo>
                      <a:pt x="32557" y="1010"/>
                    </a:lnTo>
                    <a:cubicBezTo>
                      <a:pt x="32287" y="667"/>
                      <a:pt x="32005" y="330"/>
                      <a:pt x="31711" y="1"/>
                    </a:cubicBezTo>
                    <a:close/>
                  </a:path>
                </a:pathLst>
              </a:custGeom>
              <a:solidFill>
                <a:schemeClr val="lt2"/>
              </a:solidFill>
              <a:ln w="9525" cap="flat" cmpd="sng">
                <a:solidFill>
                  <a:schemeClr val="lt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3" name="Google Shape;33;p2"/>
              <p:cNvSpPr/>
              <p:nvPr/>
            </p:nvSpPr>
            <p:spPr>
              <a:xfrm>
                <a:off x="505350" y="2457000"/>
                <a:ext cx="788775" cy="788875"/>
              </a:xfrm>
              <a:custGeom>
                <a:avLst/>
                <a:gdLst/>
                <a:ahLst/>
                <a:cxnLst/>
                <a:rect l="l" t="t" r="r" b="b"/>
                <a:pathLst>
                  <a:path w="31551" h="31555" extrusionOk="0">
                    <a:moveTo>
                      <a:pt x="30878" y="1"/>
                    </a:moveTo>
                    <a:lnTo>
                      <a:pt x="0" y="30879"/>
                    </a:lnTo>
                    <a:cubicBezTo>
                      <a:pt x="388" y="31116"/>
                      <a:pt x="782" y="31340"/>
                      <a:pt x="1181" y="31554"/>
                    </a:cubicBezTo>
                    <a:lnTo>
                      <a:pt x="31551" y="1182"/>
                    </a:lnTo>
                    <a:cubicBezTo>
                      <a:pt x="31340" y="783"/>
                      <a:pt x="31116" y="389"/>
                      <a:pt x="30878" y="1"/>
                    </a:cubicBezTo>
                    <a:close/>
                  </a:path>
                </a:pathLst>
              </a:custGeom>
              <a:solidFill>
                <a:schemeClr val="lt2"/>
              </a:solidFill>
              <a:ln w="9525" cap="flat" cmpd="sng">
                <a:solidFill>
                  <a:schemeClr val="lt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4" name="Google Shape;34;p2"/>
              <p:cNvSpPr/>
              <p:nvPr/>
            </p:nvSpPr>
            <p:spPr>
              <a:xfrm>
                <a:off x="599500" y="2551175"/>
                <a:ext cx="735550" cy="735550"/>
              </a:xfrm>
              <a:custGeom>
                <a:avLst/>
                <a:gdLst/>
                <a:ahLst/>
                <a:cxnLst/>
                <a:rect l="l" t="t" r="r" b="b"/>
                <a:pathLst>
                  <a:path w="29422" h="29422" extrusionOk="0">
                    <a:moveTo>
                      <a:pt x="28952" y="1"/>
                    </a:moveTo>
                    <a:lnTo>
                      <a:pt x="0" y="28953"/>
                    </a:lnTo>
                    <a:cubicBezTo>
                      <a:pt x="457" y="29125"/>
                      <a:pt x="919" y="29282"/>
                      <a:pt x="1385" y="29422"/>
                    </a:cubicBezTo>
                    <a:lnTo>
                      <a:pt x="29421" y="1386"/>
                    </a:lnTo>
                    <a:cubicBezTo>
                      <a:pt x="29281" y="920"/>
                      <a:pt x="29124" y="458"/>
                      <a:pt x="28952" y="1"/>
                    </a:cubicBezTo>
                    <a:close/>
                  </a:path>
                </a:pathLst>
              </a:custGeom>
              <a:solidFill>
                <a:schemeClr val="lt2"/>
              </a:solidFill>
              <a:ln w="9525" cap="flat" cmpd="sng">
                <a:solidFill>
                  <a:schemeClr val="lt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5" name="Google Shape;35;p2"/>
              <p:cNvSpPr/>
              <p:nvPr/>
            </p:nvSpPr>
            <p:spPr>
              <a:xfrm>
                <a:off x="710450" y="2662150"/>
                <a:ext cx="647000" cy="646975"/>
              </a:xfrm>
              <a:custGeom>
                <a:avLst/>
                <a:gdLst/>
                <a:ahLst/>
                <a:cxnLst/>
                <a:rect l="l" t="t" r="r" b="b"/>
                <a:pathLst>
                  <a:path w="25880" h="25879" extrusionOk="0">
                    <a:moveTo>
                      <a:pt x="25682" y="1"/>
                    </a:moveTo>
                    <a:lnTo>
                      <a:pt x="1" y="25681"/>
                    </a:lnTo>
                    <a:cubicBezTo>
                      <a:pt x="552" y="25767"/>
                      <a:pt x="1104" y="25833"/>
                      <a:pt x="1659" y="25879"/>
                    </a:cubicBezTo>
                    <a:lnTo>
                      <a:pt x="25879" y="1659"/>
                    </a:lnTo>
                    <a:cubicBezTo>
                      <a:pt x="25834" y="1104"/>
                      <a:pt x="25768" y="551"/>
                      <a:pt x="25682" y="1"/>
                    </a:cubicBezTo>
                    <a:close/>
                  </a:path>
                </a:pathLst>
              </a:custGeom>
              <a:solidFill>
                <a:schemeClr val="lt2"/>
              </a:solidFill>
              <a:ln w="9525" cap="flat" cmpd="sng">
                <a:solidFill>
                  <a:schemeClr val="lt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6" name="Google Shape;36;p2"/>
              <p:cNvSpPr/>
              <p:nvPr/>
            </p:nvSpPr>
            <p:spPr>
              <a:xfrm>
                <a:off x="845925" y="2797575"/>
                <a:ext cx="511350" cy="511350"/>
              </a:xfrm>
              <a:custGeom>
                <a:avLst/>
                <a:gdLst/>
                <a:ahLst/>
                <a:cxnLst/>
                <a:rect l="l" t="t" r="r" b="b"/>
                <a:pathLst>
                  <a:path w="20454" h="20454" extrusionOk="0">
                    <a:moveTo>
                      <a:pt x="20453" y="1"/>
                    </a:moveTo>
                    <a:lnTo>
                      <a:pt x="1" y="20453"/>
                    </a:lnTo>
                    <a:cubicBezTo>
                      <a:pt x="718" y="20391"/>
                      <a:pt x="1431" y="20297"/>
                      <a:pt x="2142" y="20167"/>
                    </a:cubicBezTo>
                    <a:lnTo>
                      <a:pt x="20165" y="2142"/>
                    </a:lnTo>
                    <a:cubicBezTo>
                      <a:pt x="20295" y="1433"/>
                      <a:pt x="20391" y="720"/>
                      <a:pt x="20453" y="1"/>
                    </a:cubicBezTo>
                    <a:close/>
                  </a:path>
                </a:pathLst>
              </a:custGeom>
              <a:solidFill>
                <a:schemeClr val="lt2"/>
              </a:solidFill>
              <a:ln w="9525" cap="flat" cmpd="sng">
                <a:solidFill>
                  <a:schemeClr val="lt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37" name="Google Shape;37;p2"/>
              <p:cNvSpPr/>
              <p:nvPr/>
            </p:nvSpPr>
            <p:spPr>
              <a:xfrm>
                <a:off x="1037700" y="2989400"/>
                <a:ext cx="267950" cy="267900"/>
              </a:xfrm>
              <a:custGeom>
                <a:avLst/>
                <a:gdLst/>
                <a:ahLst/>
                <a:cxnLst/>
                <a:rect l="l" t="t" r="r" b="b"/>
                <a:pathLst>
                  <a:path w="10718" h="10716" extrusionOk="0">
                    <a:moveTo>
                      <a:pt x="10717" y="1"/>
                    </a:moveTo>
                    <a:lnTo>
                      <a:pt x="1" y="10715"/>
                    </a:lnTo>
                    <a:cubicBezTo>
                      <a:pt x="4703" y="8488"/>
                      <a:pt x="8489" y="4703"/>
                      <a:pt x="10717" y="1"/>
                    </a:cubicBezTo>
                    <a:close/>
                  </a:path>
                </a:pathLst>
              </a:custGeom>
              <a:solidFill>
                <a:schemeClr val="lt2"/>
              </a:solidFill>
              <a:ln w="9525" cap="flat" cmpd="sng">
                <a:solidFill>
                  <a:schemeClr val="lt2"/>
                </a:solidFill>
                <a:prstDash val="solid"/>
                <a:round/>
                <a:headEnd type="none" w="sm" len="sm"/>
                <a:tailEnd type="none" w="sm" len="sm"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grpSp>
          <p:nvGrpSpPr>
            <p:cNvPr id="38" name="Google Shape;38;p2"/>
            <p:cNvGrpSpPr/>
            <p:nvPr/>
          </p:nvGrpSpPr>
          <p:grpSpPr>
            <a:xfrm>
              <a:off x="6285323" y="4469069"/>
              <a:ext cx="2451519" cy="674824"/>
              <a:chOff x="4493500" y="4121075"/>
              <a:chExt cx="1801925" cy="495975"/>
            </a:xfrm>
          </p:grpSpPr>
          <p:sp>
            <p:nvSpPr>
              <p:cNvPr id="39" name="Google Shape;39;p2"/>
              <p:cNvSpPr/>
              <p:nvPr/>
            </p:nvSpPr>
            <p:spPr>
              <a:xfrm>
                <a:off x="4493500" y="4121075"/>
                <a:ext cx="993175" cy="495975"/>
              </a:xfrm>
              <a:custGeom>
                <a:avLst/>
                <a:gdLst/>
                <a:ahLst/>
                <a:cxnLst/>
                <a:rect l="l" t="t" r="r" b="b"/>
                <a:pathLst>
                  <a:path w="39727" h="19839" extrusionOk="0">
                    <a:moveTo>
                      <a:pt x="19789" y="0"/>
                    </a:moveTo>
                    <a:lnTo>
                      <a:pt x="0" y="19839"/>
                    </a:lnTo>
                    <a:lnTo>
                      <a:pt x="39727" y="19839"/>
                    </a:lnTo>
                    <a:lnTo>
                      <a:pt x="19789" y="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  <p:sp>
            <p:nvSpPr>
              <p:cNvPr id="40" name="Google Shape;40;p2"/>
              <p:cNvSpPr/>
              <p:nvPr/>
            </p:nvSpPr>
            <p:spPr>
              <a:xfrm>
                <a:off x="5310950" y="4121075"/>
                <a:ext cx="984475" cy="495975"/>
              </a:xfrm>
              <a:custGeom>
                <a:avLst/>
                <a:gdLst/>
                <a:ahLst/>
                <a:cxnLst/>
                <a:rect l="l" t="t" r="r" b="b"/>
                <a:pathLst>
                  <a:path w="39379" h="19839" extrusionOk="0">
                    <a:moveTo>
                      <a:pt x="19789" y="0"/>
                    </a:moveTo>
                    <a:lnTo>
                      <a:pt x="1" y="19839"/>
                    </a:lnTo>
                    <a:lnTo>
                      <a:pt x="39378" y="19839"/>
                    </a:lnTo>
                    <a:lnTo>
                      <a:pt x="19789" y="0"/>
                    </a:ln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91425" tIns="91425" rIns="91425" bIns="91425" anchor="ctr" anchorCtr="0">
                <a:noAutofit/>
              </a:bodyPr>
              <a:lstStyle/>
              <a:p>
                <a:pPr marL="0" lvl="0" indent="0" algn="l" rtl="0">
                  <a:spcBef>
                    <a:spcPts val="0"/>
                  </a:spcBef>
                  <a:spcAft>
                    <a:spcPts val="0"/>
                  </a:spcAft>
                  <a:buNone/>
                </a:pPr>
                <a:endParaRPr/>
              </a:p>
            </p:txBody>
          </p:sp>
        </p:grpSp>
        <p:sp>
          <p:nvSpPr>
            <p:cNvPr id="41" name="Google Shape;41;p2"/>
            <p:cNvSpPr/>
            <p:nvPr/>
          </p:nvSpPr>
          <p:spPr>
            <a:xfrm>
              <a:off x="7623800" y="1791800"/>
              <a:ext cx="467100" cy="467100"/>
            </a:xfrm>
            <a:prstGeom prst="ellipse">
              <a:avLst/>
            </a:pr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" name="Google Shape;42;p2"/>
            <p:cNvSpPr/>
            <p:nvPr/>
          </p:nvSpPr>
          <p:spPr>
            <a:xfrm>
              <a:off x="3515950" y="4488400"/>
              <a:ext cx="383400" cy="383100"/>
            </a:xfrm>
            <a:prstGeom prst="ellipse">
              <a:avLst/>
            </a:pr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" name="Google Shape;43;p2"/>
            <p:cNvSpPr/>
            <p:nvPr/>
          </p:nvSpPr>
          <p:spPr>
            <a:xfrm>
              <a:off x="7958650" y="3056500"/>
              <a:ext cx="778200" cy="778200"/>
            </a:xfrm>
            <a:prstGeom prst="ellipse">
              <a:avLst/>
            </a:prstGeom>
            <a:solidFill>
              <a:schemeClr val="dk2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4" name="Google Shape;44;p2"/>
          <p:cNvSpPr txBox="1">
            <a:spLocks noGrp="1"/>
          </p:cNvSpPr>
          <p:nvPr>
            <p:ph type="ctrTitle"/>
          </p:nvPr>
        </p:nvSpPr>
        <p:spPr>
          <a:xfrm>
            <a:off x="1299225" y="1248775"/>
            <a:ext cx="6545400" cy="22986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>
              <a:spcBef>
                <a:spcPts val="0"/>
              </a:spcBef>
              <a:spcAft>
                <a:spcPts val="0"/>
              </a:spcAft>
              <a:buSzPts val="5200"/>
              <a:buNone/>
              <a:defRPr sz="4600"/>
            </a:lvl1pPr>
            <a:lvl2pPr lvl="1" algn="ctr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5200">
                <a:solidFill>
                  <a:srgbClr val="191919"/>
                </a:solidFill>
              </a:defRPr>
            </a:lvl2pPr>
            <a:lvl3pPr lvl="2" algn="ctr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5200">
                <a:solidFill>
                  <a:srgbClr val="191919"/>
                </a:solidFill>
              </a:defRPr>
            </a:lvl3pPr>
            <a:lvl4pPr lvl="3" algn="ctr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5200">
                <a:solidFill>
                  <a:srgbClr val="191919"/>
                </a:solidFill>
              </a:defRPr>
            </a:lvl4pPr>
            <a:lvl5pPr lvl="4" algn="ctr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5200">
                <a:solidFill>
                  <a:srgbClr val="191919"/>
                </a:solidFill>
              </a:defRPr>
            </a:lvl5pPr>
            <a:lvl6pPr lvl="5" algn="ctr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5200">
                <a:solidFill>
                  <a:srgbClr val="191919"/>
                </a:solidFill>
              </a:defRPr>
            </a:lvl6pPr>
            <a:lvl7pPr lvl="6" algn="ctr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5200">
                <a:solidFill>
                  <a:srgbClr val="191919"/>
                </a:solidFill>
              </a:defRPr>
            </a:lvl7pPr>
            <a:lvl8pPr lvl="7" algn="ctr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5200">
                <a:solidFill>
                  <a:srgbClr val="191919"/>
                </a:solidFill>
              </a:defRPr>
            </a:lvl8pPr>
            <a:lvl9pPr lvl="8" algn="ctr">
              <a:spcBef>
                <a:spcPts val="0"/>
              </a:spcBef>
              <a:spcAft>
                <a:spcPts val="0"/>
              </a:spcAft>
              <a:buClr>
                <a:srgbClr val="191919"/>
              </a:buClr>
              <a:buSzPts val="5200"/>
              <a:buNone/>
              <a:defRPr sz="5200">
                <a:solidFill>
                  <a:srgbClr val="191919"/>
                </a:solidFill>
              </a:defRPr>
            </a:lvl9pPr>
          </a:lstStyle>
          <a:p>
            <a:endParaRPr/>
          </a:p>
        </p:txBody>
      </p:sp>
      <p:sp>
        <p:nvSpPr>
          <p:cNvPr id="45" name="Google Shape;45;p2"/>
          <p:cNvSpPr txBox="1">
            <a:spLocks noGrp="1"/>
          </p:cNvSpPr>
          <p:nvPr>
            <p:ph type="subTitle" idx="1"/>
          </p:nvPr>
        </p:nvSpPr>
        <p:spPr>
          <a:xfrm>
            <a:off x="1688300" y="3628650"/>
            <a:ext cx="5767500" cy="439500"/>
          </a:xfrm>
          <a:prstGeom prst="rect">
            <a:avLst/>
          </a:prstGeom>
          <a:solidFill>
            <a:schemeClr val="lt2"/>
          </a:solidFill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ctr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77072189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body" type="tx">
  <p:cSld name="Title and body">
    <p:spTree>
      <p:nvGrpSpPr>
        <p:cNvPr id="1" name="Shape 10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6" name="Google Shape;106;p4"/>
          <p:cNvSpPr/>
          <p:nvPr/>
        </p:nvSpPr>
        <p:spPr>
          <a:xfrm>
            <a:off x="7296900" y="-2997125"/>
            <a:ext cx="4308900" cy="4308900"/>
          </a:xfrm>
          <a:prstGeom prst="ellipse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107" name="Google Shape;107;p4"/>
          <p:cNvSpPr/>
          <p:nvPr/>
        </p:nvSpPr>
        <p:spPr>
          <a:xfrm>
            <a:off x="-3146425" y="2959400"/>
            <a:ext cx="3706800" cy="3706800"/>
          </a:xfrm>
          <a:prstGeom prst="ellipse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8" name="Google Shape;108;p4"/>
          <p:cNvGrpSpPr/>
          <p:nvPr/>
        </p:nvGrpSpPr>
        <p:grpSpPr>
          <a:xfrm rot="5400000">
            <a:off x="7734325" y="-898119"/>
            <a:ext cx="1846439" cy="1846439"/>
            <a:chOff x="238125" y="2189800"/>
            <a:chExt cx="1119325" cy="1119325"/>
          </a:xfrm>
        </p:grpSpPr>
        <p:sp>
          <p:nvSpPr>
            <p:cNvPr id="109" name="Google Shape;109;p4"/>
            <p:cNvSpPr/>
            <p:nvPr/>
          </p:nvSpPr>
          <p:spPr>
            <a:xfrm>
              <a:off x="289900" y="2241600"/>
              <a:ext cx="267950" cy="267950"/>
            </a:xfrm>
            <a:custGeom>
              <a:avLst/>
              <a:gdLst/>
              <a:ahLst/>
              <a:cxnLst/>
              <a:rect l="l" t="t" r="r" b="b"/>
              <a:pathLst>
                <a:path w="10718" h="10718" extrusionOk="0">
                  <a:moveTo>
                    <a:pt x="10717" y="1"/>
                  </a:moveTo>
                  <a:lnTo>
                    <a:pt x="10717" y="1"/>
                  </a:lnTo>
                  <a:cubicBezTo>
                    <a:pt x="8382" y="1104"/>
                    <a:pt x="6257" y="2604"/>
                    <a:pt x="4431" y="4431"/>
                  </a:cubicBezTo>
                  <a:cubicBezTo>
                    <a:pt x="2604" y="6255"/>
                    <a:pt x="1106" y="8382"/>
                    <a:pt x="1" y="10717"/>
                  </a:cubicBezTo>
                  <a:lnTo>
                    <a:pt x="10717" y="1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" name="Google Shape;110;p4"/>
            <p:cNvSpPr/>
            <p:nvPr/>
          </p:nvSpPr>
          <p:spPr>
            <a:xfrm>
              <a:off x="238275" y="2189975"/>
              <a:ext cx="511350" cy="511375"/>
            </a:xfrm>
            <a:custGeom>
              <a:avLst/>
              <a:gdLst/>
              <a:ahLst/>
              <a:cxnLst/>
              <a:rect l="l" t="t" r="r" b="b"/>
              <a:pathLst>
                <a:path w="20454" h="20455" extrusionOk="0">
                  <a:moveTo>
                    <a:pt x="20453" y="1"/>
                  </a:moveTo>
                  <a:lnTo>
                    <a:pt x="20453" y="1"/>
                  </a:lnTo>
                  <a:cubicBezTo>
                    <a:pt x="19736" y="63"/>
                    <a:pt x="19023" y="158"/>
                    <a:pt x="18312" y="287"/>
                  </a:cubicBezTo>
                  <a:lnTo>
                    <a:pt x="289" y="18312"/>
                  </a:lnTo>
                  <a:cubicBezTo>
                    <a:pt x="159" y="19023"/>
                    <a:pt x="63" y="19736"/>
                    <a:pt x="1" y="20455"/>
                  </a:cubicBezTo>
                  <a:lnTo>
                    <a:pt x="20453" y="1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" name="Google Shape;111;p4"/>
            <p:cNvSpPr/>
            <p:nvPr/>
          </p:nvSpPr>
          <p:spPr>
            <a:xfrm>
              <a:off x="238125" y="2189800"/>
              <a:ext cx="646975" cy="646950"/>
            </a:xfrm>
            <a:custGeom>
              <a:avLst/>
              <a:gdLst/>
              <a:ahLst/>
              <a:cxnLst/>
              <a:rect l="l" t="t" r="r" b="b"/>
              <a:pathLst>
                <a:path w="25879" h="25878" extrusionOk="0">
                  <a:moveTo>
                    <a:pt x="24220" y="1"/>
                  </a:moveTo>
                  <a:lnTo>
                    <a:pt x="0" y="24221"/>
                  </a:lnTo>
                  <a:cubicBezTo>
                    <a:pt x="46" y="24774"/>
                    <a:pt x="111" y="25327"/>
                    <a:pt x="197" y="25877"/>
                  </a:cubicBezTo>
                  <a:lnTo>
                    <a:pt x="25878" y="197"/>
                  </a:lnTo>
                  <a:cubicBezTo>
                    <a:pt x="25328" y="111"/>
                    <a:pt x="24775" y="45"/>
                    <a:pt x="24220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2" name="Google Shape;112;p4"/>
            <p:cNvSpPr/>
            <p:nvPr/>
          </p:nvSpPr>
          <p:spPr>
            <a:xfrm>
              <a:off x="260500" y="2212175"/>
              <a:ext cx="735575" cy="735575"/>
            </a:xfrm>
            <a:custGeom>
              <a:avLst/>
              <a:gdLst/>
              <a:ahLst/>
              <a:cxnLst/>
              <a:rect l="l" t="t" r="r" b="b"/>
              <a:pathLst>
                <a:path w="29423" h="29423" extrusionOk="0">
                  <a:moveTo>
                    <a:pt x="28037" y="0"/>
                  </a:moveTo>
                  <a:lnTo>
                    <a:pt x="1" y="28036"/>
                  </a:lnTo>
                  <a:cubicBezTo>
                    <a:pt x="143" y="28502"/>
                    <a:pt x="298" y="28964"/>
                    <a:pt x="470" y="29423"/>
                  </a:cubicBezTo>
                  <a:lnTo>
                    <a:pt x="29422" y="471"/>
                  </a:lnTo>
                  <a:cubicBezTo>
                    <a:pt x="28965" y="299"/>
                    <a:pt x="28503" y="142"/>
                    <a:pt x="28037" y="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3" name="Google Shape;113;p4"/>
            <p:cNvSpPr/>
            <p:nvPr/>
          </p:nvSpPr>
          <p:spPr>
            <a:xfrm>
              <a:off x="301425" y="2253075"/>
              <a:ext cx="788775" cy="788825"/>
            </a:xfrm>
            <a:custGeom>
              <a:avLst/>
              <a:gdLst/>
              <a:ahLst/>
              <a:cxnLst/>
              <a:rect l="l" t="t" r="r" b="b"/>
              <a:pathLst>
                <a:path w="31551" h="31553" extrusionOk="0">
                  <a:moveTo>
                    <a:pt x="30370" y="1"/>
                  </a:moveTo>
                  <a:lnTo>
                    <a:pt x="0" y="30371"/>
                  </a:lnTo>
                  <a:cubicBezTo>
                    <a:pt x="211" y="30770"/>
                    <a:pt x="436" y="31164"/>
                    <a:pt x="675" y="31552"/>
                  </a:cubicBezTo>
                  <a:lnTo>
                    <a:pt x="31551" y="675"/>
                  </a:lnTo>
                  <a:cubicBezTo>
                    <a:pt x="31163" y="437"/>
                    <a:pt x="30770" y="213"/>
                    <a:pt x="30370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4" name="Google Shape;114;p4"/>
            <p:cNvSpPr/>
            <p:nvPr/>
          </p:nvSpPr>
          <p:spPr>
            <a:xfrm>
              <a:off x="356800" y="2308450"/>
              <a:ext cx="813925" cy="813925"/>
            </a:xfrm>
            <a:custGeom>
              <a:avLst/>
              <a:gdLst/>
              <a:ahLst/>
              <a:cxnLst/>
              <a:rect l="l" t="t" r="r" b="b"/>
              <a:pathLst>
                <a:path w="32557" h="32557" extrusionOk="0">
                  <a:moveTo>
                    <a:pt x="31547" y="1"/>
                  </a:moveTo>
                  <a:lnTo>
                    <a:pt x="0" y="31549"/>
                  </a:lnTo>
                  <a:cubicBezTo>
                    <a:pt x="270" y="31890"/>
                    <a:pt x="552" y="32227"/>
                    <a:pt x="846" y="32556"/>
                  </a:cubicBezTo>
                  <a:lnTo>
                    <a:pt x="32556" y="848"/>
                  </a:lnTo>
                  <a:cubicBezTo>
                    <a:pt x="32226" y="554"/>
                    <a:pt x="31890" y="272"/>
                    <a:pt x="31547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5" name="Google Shape;115;p4"/>
            <p:cNvSpPr/>
            <p:nvPr/>
          </p:nvSpPr>
          <p:spPr>
            <a:xfrm>
              <a:off x="424825" y="2376525"/>
              <a:ext cx="813925" cy="813925"/>
            </a:xfrm>
            <a:custGeom>
              <a:avLst/>
              <a:gdLst/>
              <a:ahLst/>
              <a:cxnLst/>
              <a:rect l="l" t="t" r="r" b="b"/>
              <a:pathLst>
                <a:path w="32557" h="32557" extrusionOk="0">
                  <a:moveTo>
                    <a:pt x="31711" y="1"/>
                  </a:moveTo>
                  <a:lnTo>
                    <a:pt x="1" y="31709"/>
                  </a:lnTo>
                  <a:cubicBezTo>
                    <a:pt x="331" y="32003"/>
                    <a:pt x="667" y="32286"/>
                    <a:pt x="1010" y="32556"/>
                  </a:cubicBezTo>
                  <a:lnTo>
                    <a:pt x="32557" y="1010"/>
                  </a:lnTo>
                  <a:cubicBezTo>
                    <a:pt x="32287" y="667"/>
                    <a:pt x="32005" y="330"/>
                    <a:pt x="31711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6" name="Google Shape;116;p4"/>
            <p:cNvSpPr/>
            <p:nvPr/>
          </p:nvSpPr>
          <p:spPr>
            <a:xfrm>
              <a:off x="505350" y="2457000"/>
              <a:ext cx="788775" cy="788875"/>
            </a:xfrm>
            <a:custGeom>
              <a:avLst/>
              <a:gdLst/>
              <a:ahLst/>
              <a:cxnLst/>
              <a:rect l="l" t="t" r="r" b="b"/>
              <a:pathLst>
                <a:path w="31551" h="31555" extrusionOk="0">
                  <a:moveTo>
                    <a:pt x="30878" y="1"/>
                  </a:moveTo>
                  <a:lnTo>
                    <a:pt x="0" y="30879"/>
                  </a:lnTo>
                  <a:cubicBezTo>
                    <a:pt x="388" y="31116"/>
                    <a:pt x="782" y="31340"/>
                    <a:pt x="1181" y="31554"/>
                  </a:cubicBezTo>
                  <a:lnTo>
                    <a:pt x="31551" y="1182"/>
                  </a:lnTo>
                  <a:cubicBezTo>
                    <a:pt x="31340" y="783"/>
                    <a:pt x="31116" y="389"/>
                    <a:pt x="30878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7" name="Google Shape;117;p4"/>
            <p:cNvSpPr/>
            <p:nvPr/>
          </p:nvSpPr>
          <p:spPr>
            <a:xfrm>
              <a:off x="599500" y="2551175"/>
              <a:ext cx="735550" cy="735550"/>
            </a:xfrm>
            <a:custGeom>
              <a:avLst/>
              <a:gdLst/>
              <a:ahLst/>
              <a:cxnLst/>
              <a:rect l="l" t="t" r="r" b="b"/>
              <a:pathLst>
                <a:path w="29422" h="29422" extrusionOk="0">
                  <a:moveTo>
                    <a:pt x="28952" y="1"/>
                  </a:moveTo>
                  <a:lnTo>
                    <a:pt x="0" y="28953"/>
                  </a:lnTo>
                  <a:cubicBezTo>
                    <a:pt x="457" y="29125"/>
                    <a:pt x="919" y="29282"/>
                    <a:pt x="1385" y="29422"/>
                  </a:cubicBezTo>
                  <a:lnTo>
                    <a:pt x="29421" y="1386"/>
                  </a:lnTo>
                  <a:cubicBezTo>
                    <a:pt x="29281" y="920"/>
                    <a:pt x="29124" y="458"/>
                    <a:pt x="28952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8" name="Google Shape;118;p4"/>
            <p:cNvSpPr/>
            <p:nvPr/>
          </p:nvSpPr>
          <p:spPr>
            <a:xfrm>
              <a:off x="710450" y="2662150"/>
              <a:ext cx="647000" cy="646975"/>
            </a:xfrm>
            <a:custGeom>
              <a:avLst/>
              <a:gdLst/>
              <a:ahLst/>
              <a:cxnLst/>
              <a:rect l="l" t="t" r="r" b="b"/>
              <a:pathLst>
                <a:path w="25880" h="25879" extrusionOk="0">
                  <a:moveTo>
                    <a:pt x="25682" y="1"/>
                  </a:moveTo>
                  <a:lnTo>
                    <a:pt x="1" y="25681"/>
                  </a:lnTo>
                  <a:cubicBezTo>
                    <a:pt x="552" y="25767"/>
                    <a:pt x="1104" y="25833"/>
                    <a:pt x="1659" y="25879"/>
                  </a:cubicBezTo>
                  <a:lnTo>
                    <a:pt x="25879" y="1659"/>
                  </a:lnTo>
                  <a:cubicBezTo>
                    <a:pt x="25834" y="1104"/>
                    <a:pt x="25768" y="551"/>
                    <a:pt x="25682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" name="Google Shape;119;p4"/>
            <p:cNvSpPr/>
            <p:nvPr/>
          </p:nvSpPr>
          <p:spPr>
            <a:xfrm>
              <a:off x="845925" y="2797575"/>
              <a:ext cx="511350" cy="511350"/>
            </a:xfrm>
            <a:custGeom>
              <a:avLst/>
              <a:gdLst/>
              <a:ahLst/>
              <a:cxnLst/>
              <a:rect l="l" t="t" r="r" b="b"/>
              <a:pathLst>
                <a:path w="20454" h="20454" extrusionOk="0">
                  <a:moveTo>
                    <a:pt x="20453" y="1"/>
                  </a:moveTo>
                  <a:lnTo>
                    <a:pt x="1" y="20453"/>
                  </a:lnTo>
                  <a:cubicBezTo>
                    <a:pt x="718" y="20391"/>
                    <a:pt x="1431" y="20297"/>
                    <a:pt x="2142" y="20167"/>
                  </a:cubicBezTo>
                  <a:lnTo>
                    <a:pt x="20165" y="2142"/>
                  </a:lnTo>
                  <a:cubicBezTo>
                    <a:pt x="20295" y="1433"/>
                    <a:pt x="20391" y="720"/>
                    <a:pt x="20453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" name="Google Shape;120;p4"/>
            <p:cNvSpPr/>
            <p:nvPr/>
          </p:nvSpPr>
          <p:spPr>
            <a:xfrm>
              <a:off x="1037700" y="2989400"/>
              <a:ext cx="267950" cy="267900"/>
            </a:xfrm>
            <a:custGeom>
              <a:avLst/>
              <a:gdLst/>
              <a:ahLst/>
              <a:cxnLst/>
              <a:rect l="l" t="t" r="r" b="b"/>
              <a:pathLst>
                <a:path w="10718" h="10716" extrusionOk="0">
                  <a:moveTo>
                    <a:pt x="10717" y="1"/>
                  </a:moveTo>
                  <a:lnTo>
                    <a:pt x="1" y="10715"/>
                  </a:lnTo>
                  <a:cubicBezTo>
                    <a:pt x="4703" y="8488"/>
                    <a:pt x="8489" y="4703"/>
                    <a:pt x="10717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" name="Google Shape;121;p4"/>
          <p:cNvGrpSpPr/>
          <p:nvPr/>
        </p:nvGrpSpPr>
        <p:grpSpPr>
          <a:xfrm rot="5400000">
            <a:off x="-242036" y="3454053"/>
            <a:ext cx="876096" cy="876096"/>
            <a:chOff x="238125" y="2189800"/>
            <a:chExt cx="1119325" cy="1119325"/>
          </a:xfrm>
        </p:grpSpPr>
        <p:sp>
          <p:nvSpPr>
            <p:cNvPr id="122" name="Google Shape;122;p4"/>
            <p:cNvSpPr/>
            <p:nvPr/>
          </p:nvSpPr>
          <p:spPr>
            <a:xfrm>
              <a:off x="289900" y="2241600"/>
              <a:ext cx="267950" cy="267950"/>
            </a:xfrm>
            <a:custGeom>
              <a:avLst/>
              <a:gdLst/>
              <a:ahLst/>
              <a:cxnLst/>
              <a:rect l="l" t="t" r="r" b="b"/>
              <a:pathLst>
                <a:path w="10718" h="10718" extrusionOk="0">
                  <a:moveTo>
                    <a:pt x="10717" y="1"/>
                  </a:moveTo>
                  <a:lnTo>
                    <a:pt x="10717" y="1"/>
                  </a:lnTo>
                  <a:cubicBezTo>
                    <a:pt x="8382" y="1104"/>
                    <a:pt x="6257" y="2604"/>
                    <a:pt x="4431" y="4431"/>
                  </a:cubicBezTo>
                  <a:cubicBezTo>
                    <a:pt x="2604" y="6255"/>
                    <a:pt x="1106" y="8382"/>
                    <a:pt x="1" y="10717"/>
                  </a:cubicBezTo>
                  <a:lnTo>
                    <a:pt x="10717" y="1"/>
                  </a:ln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" name="Google Shape;123;p4"/>
            <p:cNvSpPr/>
            <p:nvPr/>
          </p:nvSpPr>
          <p:spPr>
            <a:xfrm>
              <a:off x="238275" y="2189975"/>
              <a:ext cx="511350" cy="511375"/>
            </a:xfrm>
            <a:custGeom>
              <a:avLst/>
              <a:gdLst/>
              <a:ahLst/>
              <a:cxnLst/>
              <a:rect l="l" t="t" r="r" b="b"/>
              <a:pathLst>
                <a:path w="20454" h="20455" extrusionOk="0">
                  <a:moveTo>
                    <a:pt x="20453" y="1"/>
                  </a:moveTo>
                  <a:lnTo>
                    <a:pt x="20453" y="1"/>
                  </a:lnTo>
                  <a:cubicBezTo>
                    <a:pt x="19736" y="63"/>
                    <a:pt x="19023" y="158"/>
                    <a:pt x="18312" y="287"/>
                  </a:cubicBezTo>
                  <a:lnTo>
                    <a:pt x="289" y="18312"/>
                  </a:lnTo>
                  <a:cubicBezTo>
                    <a:pt x="159" y="19023"/>
                    <a:pt x="63" y="19736"/>
                    <a:pt x="1" y="20455"/>
                  </a:cubicBezTo>
                  <a:lnTo>
                    <a:pt x="20453" y="1"/>
                  </a:ln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" name="Google Shape;124;p4"/>
            <p:cNvSpPr/>
            <p:nvPr/>
          </p:nvSpPr>
          <p:spPr>
            <a:xfrm>
              <a:off x="238125" y="2189800"/>
              <a:ext cx="646975" cy="646950"/>
            </a:xfrm>
            <a:custGeom>
              <a:avLst/>
              <a:gdLst/>
              <a:ahLst/>
              <a:cxnLst/>
              <a:rect l="l" t="t" r="r" b="b"/>
              <a:pathLst>
                <a:path w="25879" h="25878" extrusionOk="0">
                  <a:moveTo>
                    <a:pt x="24220" y="1"/>
                  </a:moveTo>
                  <a:lnTo>
                    <a:pt x="0" y="24221"/>
                  </a:lnTo>
                  <a:cubicBezTo>
                    <a:pt x="46" y="24774"/>
                    <a:pt x="111" y="25327"/>
                    <a:pt x="197" y="25877"/>
                  </a:cubicBezTo>
                  <a:lnTo>
                    <a:pt x="25878" y="197"/>
                  </a:lnTo>
                  <a:cubicBezTo>
                    <a:pt x="25328" y="111"/>
                    <a:pt x="24775" y="45"/>
                    <a:pt x="24220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5" name="Google Shape;125;p4"/>
            <p:cNvSpPr/>
            <p:nvPr/>
          </p:nvSpPr>
          <p:spPr>
            <a:xfrm>
              <a:off x="260500" y="2212175"/>
              <a:ext cx="735575" cy="735575"/>
            </a:xfrm>
            <a:custGeom>
              <a:avLst/>
              <a:gdLst/>
              <a:ahLst/>
              <a:cxnLst/>
              <a:rect l="l" t="t" r="r" b="b"/>
              <a:pathLst>
                <a:path w="29423" h="29423" extrusionOk="0">
                  <a:moveTo>
                    <a:pt x="28037" y="0"/>
                  </a:moveTo>
                  <a:lnTo>
                    <a:pt x="1" y="28036"/>
                  </a:lnTo>
                  <a:cubicBezTo>
                    <a:pt x="143" y="28502"/>
                    <a:pt x="298" y="28964"/>
                    <a:pt x="470" y="29423"/>
                  </a:cubicBezTo>
                  <a:lnTo>
                    <a:pt x="29422" y="471"/>
                  </a:lnTo>
                  <a:cubicBezTo>
                    <a:pt x="28965" y="299"/>
                    <a:pt x="28503" y="142"/>
                    <a:pt x="28037" y="0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6" name="Google Shape;126;p4"/>
            <p:cNvSpPr/>
            <p:nvPr/>
          </p:nvSpPr>
          <p:spPr>
            <a:xfrm>
              <a:off x="301425" y="2253075"/>
              <a:ext cx="788775" cy="788825"/>
            </a:xfrm>
            <a:custGeom>
              <a:avLst/>
              <a:gdLst/>
              <a:ahLst/>
              <a:cxnLst/>
              <a:rect l="l" t="t" r="r" b="b"/>
              <a:pathLst>
                <a:path w="31551" h="31553" extrusionOk="0">
                  <a:moveTo>
                    <a:pt x="30370" y="1"/>
                  </a:moveTo>
                  <a:lnTo>
                    <a:pt x="0" y="30371"/>
                  </a:lnTo>
                  <a:cubicBezTo>
                    <a:pt x="211" y="30770"/>
                    <a:pt x="436" y="31164"/>
                    <a:pt x="675" y="31552"/>
                  </a:cubicBezTo>
                  <a:lnTo>
                    <a:pt x="31551" y="675"/>
                  </a:lnTo>
                  <a:cubicBezTo>
                    <a:pt x="31163" y="437"/>
                    <a:pt x="30770" y="213"/>
                    <a:pt x="30370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7" name="Google Shape;127;p4"/>
            <p:cNvSpPr/>
            <p:nvPr/>
          </p:nvSpPr>
          <p:spPr>
            <a:xfrm>
              <a:off x="356800" y="2308450"/>
              <a:ext cx="813925" cy="813925"/>
            </a:xfrm>
            <a:custGeom>
              <a:avLst/>
              <a:gdLst/>
              <a:ahLst/>
              <a:cxnLst/>
              <a:rect l="l" t="t" r="r" b="b"/>
              <a:pathLst>
                <a:path w="32557" h="32557" extrusionOk="0">
                  <a:moveTo>
                    <a:pt x="31547" y="1"/>
                  </a:moveTo>
                  <a:lnTo>
                    <a:pt x="0" y="31549"/>
                  </a:lnTo>
                  <a:cubicBezTo>
                    <a:pt x="270" y="31890"/>
                    <a:pt x="552" y="32227"/>
                    <a:pt x="846" y="32556"/>
                  </a:cubicBezTo>
                  <a:lnTo>
                    <a:pt x="32556" y="848"/>
                  </a:lnTo>
                  <a:cubicBezTo>
                    <a:pt x="32226" y="554"/>
                    <a:pt x="31890" y="272"/>
                    <a:pt x="31547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8" name="Google Shape;128;p4"/>
            <p:cNvSpPr/>
            <p:nvPr/>
          </p:nvSpPr>
          <p:spPr>
            <a:xfrm>
              <a:off x="424825" y="2376525"/>
              <a:ext cx="813925" cy="813925"/>
            </a:xfrm>
            <a:custGeom>
              <a:avLst/>
              <a:gdLst/>
              <a:ahLst/>
              <a:cxnLst/>
              <a:rect l="l" t="t" r="r" b="b"/>
              <a:pathLst>
                <a:path w="32557" h="32557" extrusionOk="0">
                  <a:moveTo>
                    <a:pt x="31711" y="1"/>
                  </a:moveTo>
                  <a:lnTo>
                    <a:pt x="1" y="31709"/>
                  </a:lnTo>
                  <a:cubicBezTo>
                    <a:pt x="331" y="32003"/>
                    <a:pt x="667" y="32286"/>
                    <a:pt x="1010" y="32556"/>
                  </a:cubicBezTo>
                  <a:lnTo>
                    <a:pt x="32557" y="1010"/>
                  </a:lnTo>
                  <a:cubicBezTo>
                    <a:pt x="32287" y="667"/>
                    <a:pt x="32005" y="330"/>
                    <a:pt x="31711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9" name="Google Shape;129;p4"/>
            <p:cNvSpPr/>
            <p:nvPr/>
          </p:nvSpPr>
          <p:spPr>
            <a:xfrm>
              <a:off x="505350" y="2457000"/>
              <a:ext cx="788775" cy="788875"/>
            </a:xfrm>
            <a:custGeom>
              <a:avLst/>
              <a:gdLst/>
              <a:ahLst/>
              <a:cxnLst/>
              <a:rect l="l" t="t" r="r" b="b"/>
              <a:pathLst>
                <a:path w="31551" h="31555" extrusionOk="0">
                  <a:moveTo>
                    <a:pt x="30878" y="1"/>
                  </a:moveTo>
                  <a:lnTo>
                    <a:pt x="0" y="30879"/>
                  </a:lnTo>
                  <a:cubicBezTo>
                    <a:pt x="388" y="31116"/>
                    <a:pt x="782" y="31340"/>
                    <a:pt x="1181" y="31554"/>
                  </a:cubicBezTo>
                  <a:lnTo>
                    <a:pt x="31551" y="1182"/>
                  </a:lnTo>
                  <a:cubicBezTo>
                    <a:pt x="31340" y="783"/>
                    <a:pt x="31116" y="389"/>
                    <a:pt x="30878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0" name="Google Shape;130;p4"/>
            <p:cNvSpPr/>
            <p:nvPr/>
          </p:nvSpPr>
          <p:spPr>
            <a:xfrm>
              <a:off x="599500" y="2551175"/>
              <a:ext cx="735550" cy="735550"/>
            </a:xfrm>
            <a:custGeom>
              <a:avLst/>
              <a:gdLst/>
              <a:ahLst/>
              <a:cxnLst/>
              <a:rect l="l" t="t" r="r" b="b"/>
              <a:pathLst>
                <a:path w="29422" h="29422" extrusionOk="0">
                  <a:moveTo>
                    <a:pt x="28952" y="1"/>
                  </a:moveTo>
                  <a:lnTo>
                    <a:pt x="0" y="28953"/>
                  </a:lnTo>
                  <a:cubicBezTo>
                    <a:pt x="457" y="29125"/>
                    <a:pt x="919" y="29282"/>
                    <a:pt x="1385" y="29422"/>
                  </a:cubicBezTo>
                  <a:lnTo>
                    <a:pt x="29421" y="1386"/>
                  </a:lnTo>
                  <a:cubicBezTo>
                    <a:pt x="29281" y="920"/>
                    <a:pt x="29124" y="458"/>
                    <a:pt x="28952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1" name="Google Shape;131;p4"/>
            <p:cNvSpPr/>
            <p:nvPr/>
          </p:nvSpPr>
          <p:spPr>
            <a:xfrm>
              <a:off x="710450" y="2662150"/>
              <a:ext cx="647000" cy="646975"/>
            </a:xfrm>
            <a:custGeom>
              <a:avLst/>
              <a:gdLst/>
              <a:ahLst/>
              <a:cxnLst/>
              <a:rect l="l" t="t" r="r" b="b"/>
              <a:pathLst>
                <a:path w="25880" h="25879" extrusionOk="0">
                  <a:moveTo>
                    <a:pt x="25682" y="1"/>
                  </a:moveTo>
                  <a:lnTo>
                    <a:pt x="1" y="25681"/>
                  </a:lnTo>
                  <a:cubicBezTo>
                    <a:pt x="552" y="25767"/>
                    <a:pt x="1104" y="25833"/>
                    <a:pt x="1659" y="25879"/>
                  </a:cubicBezTo>
                  <a:lnTo>
                    <a:pt x="25879" y="1659"/>
                  </a:lnTo>
                  <a:cubicBezTo>
                    <a:pt x="25834" y="1104"/>
                    <a:pt x="25768" y="551"/>
                    <a:pt x="25682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2" name="Google Shape;132;p4"/>
            <p:cNvSpPr/>
            <p:nvPr/>
          </p:nvSpPr>
          <p:spPr>
            <a:xfrm>
              <a:off x="845925" y="2797575"/>
              <a:ext cx="511350" cy="511350"/>
            </a:xfrm>
            <a:custGeom>
              <a:avLst/>
              <a:gdLst/>
              <a:ahLst/>
              <a:cxnLst/>
              <a:rect l="l" t="t" r="r" b="b"/>
              <a:pathLst>
                <a:path w="20454" h="20454" extrusionOk="0">
                  <a:moveTo>
                    <a:pt x="20453" y="1"/>
                  </a:moveTo>
                  <a:lnTo>
                    <a:pt x="1" y="20453"/>
                  </a:lnTo>
                  <a:cubicBezTo>
                    <a:pt x="718" y="20391"/>
                    <a:pt x="1431" y="20297"/>
                    <a:pt x="2142" y="20167"/>
                  </a:cubicBezTo>
                  <a:lnTo>
                    <a:pt x="20165" y="2142"/>
                  </a:lnTo>
                  <a:cubicBezTo>
                    <a:pt x="20295" y="1433"/>
                    <a:pt x="20391" y="720"/>
                    <a:pt x="20453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3" name="Google Shape;133;p4"/>
            <p:cNvSpPr/>
            <p:nvPr/>
          </p:nvSpPr>
          <p:spPr>
            <a:xfrm>
              <a:off x="1037700" y="2989400"/>
              <a:ext cx="267950" cy="267900"/>
            </a:xfrm>
            <a:custGeom>
              <a:avLst/>
              <a:gdLst/>
              <a:ahLst/>
              <a:cxnLst/>
              <a:rect l="l" t="t" r="r" b="b"/>
              <a:pathLst>
                <a:path w="10718" h="10716" extrusionOk="0">
                  <a:moveTo>
                    <a:pt x="10717" y="1"/>
                  </a:moveTo>
                  <a:lnTo>
                    <a:pt x="1" y="10715"/>
                  </a:lnTo>
                  <a:cubicBezTo>
                    <a:pt x="4703" y="8488"/>
                    <a:pt x="8489" y="4703"/>
                    <a:pt x="10717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4" name="Google Shape;134;p4"/>
          <p:cNvGrpSpPr/>
          <p:nvPr/>
        </p:nvGrpSpPr>
        <p:grpSpPr>
          <a:xfrm>
            <a:off x="8742041" y="4120338"/>
            <a:ext cx="205865" cy="205370"/>
            <a:chOff x="3510300" y="2634425"/>
            <a:chExt cx="576975" cy="575750"/>
          </a:xfrm>
        </p:grpSpPr>
        <p:sp>
          <p:nvSpPr>
            <p:cNvPr id="135" name="Google Shape;135;p4"/>
            <p:cNvSpPr/>
            <p:nvPr/>
          </p:nvSpPr>
          <p:spPr>
            <a:xfrm>
              <a:off x="3743325" y="2634425"/>
              <a:ext cx="110925" cy="575750"/>
            </a:xfrm>
            <a:custGeom>
              <a:avLst/>
              <a:gdLst/>
              <a:ahLst/>
              <a:cxnLst/>
              <a:rect l="l" t="t" r="r" b="b"/>
              <a:pathLst>
                <a:path w="4437" h="23030" extrusionOk="0">
                  <a:moveTo>
                    <a:pt x="2193" y="1"/>
                  </a:moveTo>
                  <a:cubicBezTo>
                    <a:pt x="997" y="1"/>
                    <a:pt x="0" y="998"/>
                    <a:pt x="0" y="2194"/>
                  </a:cubicBezTo>
                  <a:lnTo>
                    <a:pt x="0" y="20786"/>
                  </a:lnTo>
                  <a:cubicBezTo>
                    <a:pt x="0" y="22032"/>
                    <a:pt x="997" y="23029"/>
                    <a:pt x="2193" y="23029"/>
                  </a:cubicBezTo>
                  <a:cubicBezTo>
                    <a:pt x="3440" y="23029"/>
                    <a:pt x="4437" y="22032"/>
                    <a:pt x="4437" y="20786"/>
                  </a:cubicBezTo>
                  <a:lnTo>
                    <a:pt x="4437" y="2194"/>
                  </a:lnTo>
                  <a:cubicBezTo>
                    <a:pt x="4437" y="998"/>
                    <a:pt x="3440" y="1"/>
                    <a:pt x="2193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6" name="Google Shape;136;p4"/>
            <p:cNvSpPr/>
            <p:nvPr/>
          </p:nvSpPr>
          <p:spPr>
            <a:xfrm>
              <a:off x="3510300" y="2866200"/>
              <a:ext cx="576975" cy="112175"/>
            </a:xfrm>
            <a:custGeom>
              <a:avLst/>
              <a:gdLst/>
              <a:ahLst/>
              <a:cxnLst/>
              <a:rect l="l" t="t" r="r" b="b"/>
              <a:pathLst>
                <a:path w="23079" h="4487" extrusionOk="0">
                  <a:moveTo>
                    <a:pt x="2243" y="1"/>
                  </a:moveTo>
                  <a:cubicBezTo>
                    <a:pt x="997" y="1"/>
                    <a:pt x="0" y="998"/>
                    <a:pt x="0" y="2244"/>
                  </a:cubicBezTo>
                  <a:cubicBezTo>
                    <a:pt x="0" y="3440"/>
                    <a:pt x="997" y="4437"/>
                    <a:pt x="2243" y="4487"/>
                  </a:cubicBezTo>
                  <a:lnTo>
                    <a:pt x="20836" y="4487"/>
                  </a:lnTo>
                  <a:cubicBezTo>
                    <a:pt x="22082" y="4437"/>
                    <a:pt x="23079" y="3440"/>
                    <a:pt x="23079" y="2244"/>
                  </a:cubicBezTo>
                  <a:cubicBezTo>
                    <a:pt x="23029" y="998"/>
                    <a:pt x="22032" y="1"/>
                    <a:pt x="20836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37" name="Google Shape;137;p4"/>
          <p:cNvGrpSpPr/>
          <p:nvPr/>
        </p:nvGrpSpPr>
        <p:grpSpPr>
          <a:xfrm>
            <a:off x="8509948" y="4531458"/>
            <a:ext cx="411325" cy="410337"/>
            <a:chOff x="3510300" y="2634425"/>
            <a:chExt cx="576975" cy="575750"/>
          </a:xfrm>
        </p:grpSpPr>
        <p:sp>
          <p:nvSpPr>
            <p:cNvPr id="138" name="Google Shape;138;p4"/>
            <p:cNvSpPr/>
            <p:nvPr/>
          </p:nvSpPr>
          <p:spPr>
            <a:xfrm>
              <a:off x="3743325" y="2634425"/>
              <a:ext cx="110925" cy="575750"/>
            </a:xfrm>
            <a:custGeom>
              <a:avLst/>
              <a:gdLst/>
              <a:ahLst/>
              <a:cxnLst/>
              <a:rect l="l" t="t" r="r" b="b"/>
              <a:pathLst>
                <a:path w="4437" h="23030" extrusionOk="0">
                  <a:moveTo>
                    <a:pt x="2193" y="1"/>
                  </a:moveTo>
                  <a:cubicBezTo>
                    <a:pt x="997" y="1"/>
                    <a:pt x="0" y="998"/>
                    <a:pt x="0" y="2194"/>
                  </a:cubicBezTo>
                  <a:lnTo>
                    <a:pt x="0" y="20786"/>
                  </a:lnTo>
                  <a:cubicBezTo>
                    <a:pt x="0" y="22032"/>
                    <a:pt x="997" y="23029"/>
                    <a:pt x="2193" y="23029"/>
                  </a:cubicBezTo>
                  <a:cubicBezTo>
                    <a:pt x="3440" y="23029"/>
                    <a:pt x="4437" y="22032"/>
                    <a:pt x="4437" y="20786"/>
                  </a:cubicBezTo>
                  <a:lnTo>
                    <a:pt x="4437" y="2194"/>
                  </a:lnTo>
                  <a:cubicBezTo>
                    <a:pt x="4437" y="998"/>
                    <a:pt x="3440" y="1"/>
                    <a:pt x="2193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39" name="Google Shape;139;p4"/>
            <p:cNvSpPr/>
            <p:nvPr/>
          </p:nvSpPr>
          <p:spPr>
            <a:xfrm>
              <a:off x="3510300" y="2866200"/>
              <a:ext cx="576975" cy="112175"/>
            </a:xfrm>
            <a:custGeom>
              <a:avLst/>
              <a:gdLst/>
              <a:ahLst/>
              <a:cxnLst/>
              <a:rect l="l" t="t" r="r" b="b"/>
              <a:pathLst>
                <a:path w="23079" h="4487" extrusionOk="0">
                  <a:moveTo>
                    <a:pt x="2243" y="1"/>
                  </a:moveTo>
                  <a:cubicBezTo>
                    <a:pt x="997" y="1"/>
                    <a:pt x="0" y="998"/>
                    <a:pt x="0" y="2244"/>
                  </a:cubicBezTo>
                  <a:cubicBezTo>
                    <a:pt x="0" y="3440"/>
                    <a:pt x="997" y="4437"/>
                    <a:pt x="2243" y="4487"/>
                  </a:cubicBezTo>
                  <a:lnTo>
                    <a:pt x="20836" y="4487"/>
                  </a:lnTo>
                  <a:cubicBezTo>
                    <a:pt x="22082" y="4437"/>
                    <a:pt x="23079" y="3440"/>
                    <a:pt x="23079" y="2244"/>
                  </a:cubicBezTo>
                  <a:cubicBezTo>
                    <a:pt x="23029" y="998"/>
                    <a:pt x="22032" y="1"/>
                    <a:pt x="20836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40" name="Google Shape;140;p4"/>
          <p:cNvSpPr txBox="1">
            <a:spLocks noGrp="1"/>
          </p:cNvSpPr>
          <p:nvPr>
            <p:ph type="title"/>
          </p:nvPr>
        </p:nvSpPr>
        <p:spPr>
          <a:xfrm>
            <a:off x="720000" y="445025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41" name="Google Shape;141;p4"/>
          <p:cNvSpPr txBox="1">
            <a:spLocks noGrp="1"/>
          </p:cNvSpPr>
          <p:nvPr>
            <p:ph type="body" idx="1"/>
          </p:nvPr>
        </p:nvSpPr>
        <p:spPr>
          <a:xfrm>
            <a:off x="720000" y="1017725"/>
            <a:ext cx="7704000" cy="3525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Livvic"/>
              <a:buAutoNum type="arabicPeriod"/>
              <a:defRPr sz="1200"/>
            </a:lvl1pPr>
            <a:lvl2pPr marL="914400" lvl="1" indent="-3048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lphaLcPeriod"/>
              <a:defRPr sz="1200"/>
            </a:lvl2pPr>
            <a:lvl3pPr marL="1371600" lvl="2" indent="-3048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romanLcPeriod"/>
              <a:defRPr sz="1200"/>
            </a:lvl3pPr>
            <a:lvl4pPr marL="1828800" lvl="3" indent="-3048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rabicPeriod"/>
              <a:defRPr sz="1200"/>
            </a:lvl4pPr>
            <a:lvl5pPr marL="2286000" lvl="4" indent="-3048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lphaLcPeriod"/>
              <a:defRPr sz="1200"/>
            </a:lvl5pPr>
            <a:lvl6pPr marL="2743200" lvl="5" indent="-3048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romanLcPeriod"/>
              <a:defRPr sz="1200"/>
            </a:lvl6pPr>
            <a:lvl7pPr marL="3200400" lvl="6" indent="-3048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rabicPeriod"/>
              <a:defRPr sz="1200"/>
            </a:lvl7pPr>
            <a:lvl8pPr marL="3657600" lvl="7" indent="-304800" rtl="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rgbClr val="434343"/>
              </a:buClr>
              <a:buSzPts val="1200"/>
              <a:buFont typeface="Roboto Condensed Light"/>
              <a:buAutoNum type="alphaLcPeriod"/>
              <a:defRPr sz="1200"/>
            </a:lvl8pPr>
            <a:lvl9pPr marL="4114800" lvl="8" indent="-304800" rtl="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rgbClr val="434343"/>
              </a:buClr>
              <a:buSzPts val="1200"/>
              <a:buFont typeface="Roboto Condensed Light"/>
              <a:buAutoNum type="romanLcPeriod"/>
              <a:defRPr sz="12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968307328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" type="titleOnly">
  <p:cSld name="Title only">
    <p:spTree>
      <p:nvGrpSpPr>
        <p:cNvPr id="1" name="Shape 20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01" name="Google Shape;201;p6"/>
          <p:cNvSpPr txBox="1">
            <a:spLocks noGrp="1"/>
          </p:cNvSpPr>
          <p:nvPr>
            <p:ph type="title"/>
          </p:nvPr>
        </p:nvSpPr>
        <p:spPr>
          <a:xfrm>
            <a:off x="720000" y="445025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202" name="Google Shape;202;p6"/>
          <p:cNvSpPr/>
          <p:nvPr/>
        </p:nvSpPr>
        <p:spPr>
          <a:xfrm>
            <a:off x="-1288850" y="-515900"/>
            <a:ext cx="2366100" cy="2366100"/>
          </a:xfrm>
          <a:prstGeom prst="ellipse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203" name="Google Shape;203;p6"/>
          <p:cNvGrpSpPr/>
          <p:nvPr/>
        </p:nvGrpSpPr>
        <p:grpSpPr>
          <a:xfrm rot="5400000">
            <a:off x="-356232" y="816535"/>
            <a:ext cx="962620" cy="962620"/>
            <a:chOff x="238125" y="2189800"/>
            <a:chExt cx="1119325" cy="1119325"/>
          </a:xfrm>
        </p:grpSpPr>
        <p:sp>
          <p:nvSpPr>
            <p:cNvPr id="204" name="Google Shape;204;p6"/>
            <p:cNvSpPr/>
            <p:nvPr/>
          </p:nvSpPr>
          <p:spPr>
            <a:xfrm>
              <a:off x="289900" y="2241600"/>
              <a:ext cx="267950" cy="267950"/>
            </a:xfrm>
            <a:custGeom>
              <a:avLst/>
              <a:gdLst/>
              <a:ahLst/>
              <a:cxnLst/>
              <a:rect l="l" t="t" r="r" b="b"/>
              <a:pathLst>
                <a:path w="10718" h="10718" extrusionOk="0">
                  <a:moveTo>
                    <a:pt x="10717" y="1"/>
                  </a:moveTo>
                  <a:lnTo>
                    <a:pt x="10717" y="1"/>
                  </a:lnTo>
                  <a:cubicBezTo>
                    <a:pt x="8382" y="1104"/>
                    <a:pt x="6257" y="2604"/>
                    <a:pt x="4431" y="4431"/>
                  </a:cubicBezTo>
                  <a:cubicBezTo>
                    <a:pt x="2604" y="6255"/>
                    <a:pt x="1106" y="8382"/>
                    <a:pt x="1" y="10717"/>
                  </a:cubicBezTo>
                  <a:lnTo>
                    <a:pt x="10717" y="1"/>
                  </a:ln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5" name="Google Shape;205;p6"/>
            <p:cNvSpPr/>
            <p:nvPr/>
          </p:nvSpPr>
          <p:spPr>
            <a:xfrm>
              <a:off x="238275" y="2189975"/>
              <a:ext cx="511350" cy="511375"/>
            </a:xfrm>
            <a:custGeom>
              <a:avLst/>
              <a:gdLst/>
              <a:ahLst/>
              <a:cxnLst/>
              <a:rect l="l" t="t" r="r" b="b"/>
              <a:pathLst>
                <a:path w="20454" h="20455" extrusionOk="0">
                  <a:moveTo>
                    <a:pt x="20453" y="1"/>
                  </a:moveTo>
                  <a:lnTo>
                    <a:pt x="20453" y="1"/>
                  </a:lnTo>
                  <a:cubicBezTo>
                    <a:pt x="19736" y="63"/>
                    <a:pt x="19023" y="158"/>
                    <a:pt x="18312" y="287"/>
                  </a:cubicBezTo>
                  <a:lnTo>
                    <a:pt x="289" y="18312"/>
                  </a:lnTo>
                  <a:cubicBezTo>
                    <a:pt x="159" y="19023"/>
                    <a:pt x="63" y="19736"/>
                    <a:pt x="1" y="20455"/>
                  </a:cubicBezTo>
                  <a:lnTo>
                    <a:pt x="20453" y="1"/>
                  </a:ln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6" name="Google Shape;206;p6"/>
            <p:cNvSpPr/>
            <p:nvPr/>
          </p:nvSpPr>
          <p:spPr>
            <a:xfrm>
              <a:off x="238125" y="2189800"/>
              <a:ext cx="646975" cy="646950"/>
            </a:xfrm>
            <a:custGeom>
              <a:avLst/>
              <a:gdLst/>
              <a:ahLst/>
              <a:cxnLst/>
              <a:rect l="l" t="t" r="r" b="b"/>
              <a:pathLst>
                <a:path w="25879" h="25878" extrusionOk="0">
                  <a:moveTo>
                    <a:pt x="24220" y="1"/>
                  </a:moveTo>
                  <a:lnTo>
                    <a:pt x="0" y="24221"/>
                  </a:lnTo>
                  <a:cubicBezTo>
                    <a:pt x="46" y="24774"/>
                    <a:pt x="111" y="25327"/>
                    <a:pt x="197" y="25877"/>
                  </a:cubicBezTo>
                  <a:lnTo>
                    <a:pt x="25878" y="197"/>
                  </a:lnTo>
                  <a:cubicBezTo>
                    <a:pt x="25328" y="111"/>
                    <a:pt x="24775" y="45"/>
                    <a:pt x="24220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7" name="Google Shape;207;p6"/>
            <p:cNvSpPr/>
            <p:nvPr/>
          </p:nvSpPr>
          <p:spPr>
            <a:xfrm>
              <a:off x="260500" y="2212175"/>
              <a:ext cx="735575" cy="735575"/>
            </a:xfrm>
            <a:custGeom>
              <a:avLst/>
              <a:gdLst/>
              <a:ahLst/>
              <a:cxnLst/>
              <a:rect l="l" t="t" r="r" b="b"/>
              <a:pathLst>
                <a:path w="29423" h="29423" extrusionOk="0">
                  <a:moveTo>
                    <a:pt x="28037" y="0"/>
                  </a:moveTo>
                  <a:lnTo>
                    <a:pt x="1" y="28036"/>
                  </a:lnTo>
                  <a:cubicBezTo>
                    <a:pt x="143" y="28502"/>
                    <a:pt x="298" y="28964"/>
                    <a:pt x="470" y="29423"/>
                  </a:cubicBezTo>
                  <a:lnTo>
                    <a:pt x="29422" y="471"/>
                  </a:lnTo>
                  <a:cubicBezTo>
                    <a:pt x="28965" y="299"/>
                    <a:pt x="28503" y="142"/>
                    <a:pt x="28037" y="0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8" name="Google Shape;208;p6"/>
            <p:cNvSpPr/>
            <p:nvPr/>
          </p:nvSpPr>
          <p:spPr>
            <a:xfrm>
              <a:off x="301425" y="2253075"/>
              <a:ext cx="788775" cy="788825"/>
            </a:xfrm>
            <a:custGeom>
              <a:avLst/>
              <a:gdLst/>
              <a:ahLst/>
              <a:cxnLst/>
              <a:rect l="l" t="t" r="r" b="b"/>
              <a:pathLst>
                <a:path w="31551" h="31553" extrusionOk="0">
                  <a:moveTo>
                    <a:pt x="30370" y="1"/>
                  </a:moveTo>
                  <a:lnTo>
                    <a:pt x="0" y="30371"/>
                  </a:lnTo>
                  <a:cubicBezTo>
                    <a:pt x="211" y="30770"/>
                    <a:pt x="436" y="31164"/>
                    <a:pt x="675" y="31552"/>
                  </a:cubicBezTo>
                  <a:lnTo>
                    <a:pt x="31551" y="675"/>
                  </a:lnTo>
                  <a:cubicBezTo>
                    <a:pt x="31163" y="437"/>
                    <a:pt x="30770" y="213"/>
                    <a:pt x="30370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09" name="Google Shape;209;p6"/>
            <p:cNvSpPr/>
            <p:nvPr/>
          </p:nvSpPr>
          <p:spPr>
            <a:xfrm>
              <a:off x="356800" y="2308450"/>
              <a:ext cx="813925" cy="813925"/>
            </a:xfrm>
            <a:custGeom>
              <a:avLst/>
              <a:gdLst/>
              <a:ahLst/>
              <a:cxnLst/>
              <a:rect l="l" t="t" r="r" b="b"/>
              <a:pathLst>
                <a:path w="32557" h="32557" extrusionOk="0">
                  <a:moveTo>
                    <a:pt x="31547" y="1"/>
                  </a:moveTo>
                  <a:lnTo>
                    <a:pt x="0" y="31549"/>
                  </a:lnTo>
                  <a:cubicBezTo>
                    <a:pt x="270" y="31890"/>
                    <a:pt x="552" y="32227"/>
                    <a:pt x="846" y="32556"/>
                  </a:cubicBezTo>
                  <a:lnTo>
                    <a:pt x="32556" y="848"/>
                  </a:lnTo>
                  <a:cubicBezTo>
                    <a:pt x="32226" y="554"/>
                    <a:pt x="31890" y="272"/>
                    <a:pt x="31547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0" name="Google Shape;210;p6"/>
            <p:cNvSpPr/>
            <p:nvPr/>
          </p:nvSpPr>
          <p:spPr>
            <a:xfrm>
              <a:off x="424825" y="2376525"/>
              <a:ext cx="813925" cy="813925"/>
            </a:xfrm>
            <a:custGeom>
              <a:avLst/>
              <a:gdLst/>
              <a:ahLst/>
              <a:cxnLst/>
              <a:rect l="l" t="t" r="r" b="b"/>
              <a:pathLst>
                <a:path w="32557" h="32557" extrusionOk="0">
                  <a:moveTo>
                    <a:pt x="31711" y="1"/>
                  </a:moveTo>
                  <a:lnTo>
                    <a:pt x="1" y="31709"/>
                  </a:lnTo>
                  <a:cubicBezTo>
                    <a:pt x="331" y="32003"/>
                    <a:pt x="667" y="32286"/>
                    <a:pt x="1010" y="32556"/>
                  </a:cubicBezTo>
                  <a:lnTo>
                    <a:pt x="32557" y="1010"/>
                  </a:lnTo>
                  <a:cubicBezTo>
                    <a:pt x="32287" y="667"/>
                    <a:pt x="32005" y="330"/>
                    <a:pt x="31711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1" name="Google Shape;211;p6"/>
            <p:cNvSpPr/>
            <p:nvPr/>
          </p:nvSpPr>
          <p:spPr>
            <a:xfrm>
              <a:off x="505350" y="2457000"/>
              <a:ext cx="788775" cy="788875"/>
            </a:xfrm>
            <a:custGeom>
              <a:avLst/>
              <a:gdLst/>
              <a:ahLst/>
              <a:cxnLst/>
              <a:rect l="l" t="t" r="r" b="b"/>
              <a:pathLst>
                <a:path w="31551" h="31555" extrusionOk="0">
                  <a:moveTo>
                    <a:pt x="30878" y="1"/>
                  </a:moveTo>
                  <a:lnTo>
                    <a:pt x="0" y="30879"/>
                  </a:lnTo>
                  <a:cubicBezTo>
                    <a:pt x="388" y="31116"/>
                    <a:pt x="782" y="31340"/>
                    <a:pt x="1181" y="31554"/>
                  </a:cubicBezTo>
                  <a:lnTo>
                    <a:pt x="31551" y="1182"/>
                  </a:lnTo>
                  <a:cubicBezTo>
                    <a:pt x="31340" y="783"/>
                    <a:pt x="31116" y="389"/>
                    <a:pt x="30878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2" name="Google Shape;212;p6"/>
            <p:cNvSpPr/>
            <p:nvPr/>
          </p:nvSpPr>
          <p:spPr>
            <a:xfrm>
              <a:off x="599500" y="2551175"/>
              <a:ext cx="735550" cy="735550"/>
            </a:xfrm>
            <a:custGeom>
              <a:avLst/>
              <a:gdLst/>
              <a:ahLst/>
              <a:cxnLst/>
              <a:rect l="l" t="t" r="r" b="b"/>
              <a:pathLst>
                <a:path w="29422" h="29422" extrusionOk="0">
                  <a:moveTo>
                    <a:pt x="28952" y="1"/>
                  </a:moveTo>
                  <a:lnTo>
                    <a:pt x="0" y="28953"/>
                  </a:lnTo>
                  <a:cubicBezTo>
                    <a:pt x="457" y="29125"/>
                    <a:pt x="919" y="29282"/>
                    <a:pt x="1385" y="29422"/>
                  </a:cubicBezTo>
                  <a:lnTo>
                    <a:pt x="29421" y="1386"/>
                  </a:lnTo>
                  <a:cubicBezTo>
                    <a:pt x="29281" y="920"/>
                    <a:pt x="29124" y="458"/>
                    <a:pt x="28952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3" name="Google Shape;213;p6"/>
            <p:cNvSpPr/>
            <p:nvPr/>
          </p:nvSpPr>
          <p:spPr>
            <a:xfrm>
              <a:off x="710450" y="2662150"/>
              <a:ext cx="647000" cy="646975"/>
            </a:xfrm>
            <a:custGeom>
              <a:avLst/>
              <a:gdLst/>
              <a:ahLst/>
              <a:cxnLst/>
              <a:rect l="l" t="t" r="r" b="b"/>
              <a:pathLst>
                <a:path w="25880" h="25879" extrusionOk="0">
                  <a:moveTo>
                    <a:pt x="25682" y="1"/>
                  </a:moveTo>
                  <a:lnTo>
                    <a:pt x="1" y="25681"/>
                  </a:lnTo>
                  <a:cubicBezTo>
                    <a:pt x="552" y="25767"/>
                    <a:pt x="1104" y="25833"/>
                    <a:pt x="1659" y="25879"/>
                  </a:cubicBezTo>
                  <a:lnTo>
                    <a:pt x="25879" y="1659"/>
                  </a:lnTo>
                  <a:cubicBezTo>
                    <a:pt x="25834" y="1104"/>
                    <a:pt x="25768" y="551"/>
                    <a:pt x="25682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4" name="Google Shape;214;p6"/>
            <p:cNvSpPr/>
            <p:nvPr/>
          </p:nvSpPr>
          <p:spPr>
            <a:xfrm>
              <a:off x="845925" y="2797575"/>
              <a:ext cx="511350" cy="511350"/>
            </a:xfrm>
            <a:custGeom>
              <a:avLst/>
              <a:gdLst/>
              <a:ahLst/>
              <a:cxnLst/>
              <a:rect l="l" t="t" r="r" b="b"/>
              <a:pathLst>
                <a:path w="20454" h="20454" extrusionOk="0">
                  <a:moveTo>
                    <a:pt x="20453" y="1"/>
                  </a:moveTo>
                  <a:lnTo>
                    <a:pt x="1" y="20453"/>
                  </a:lnTo>
                  <a:cubicBezTo>
                    <a:pt x="718" y="20391"/>
                    <a:pt x="1431" y="20297"/>
                    <a:pt x="2142" y="20167"/>
                  </a:cubicBezTo>
                  <a:lnTo>
                    <a:pt x="20165" y="2142"/>
                  </a:lnTo>
                  <a:cubicBezTo>
                    <a:pt x="20295" y="1433"/>
                    <a:pt x="20391" y="720"/>
                    <a:pt x="20453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5" name="Google Shape;215;p6"/>
            <p:cNvSpPr/>
            <p:nvPr/>
          </p:nvSpPr>
          <p:spPr>
            <a:xfrm>
              <a:off x="1037700" y="2989400"/>
              <a:ext cx="267950" cy="267900"/>
            </a:xfrm>
            <a:custGeom>
              <a:avLst/>
              <a:gdLst/>
              <a:ahLst/>
              <a:cxnLst/>
              <a:rect l="l" t="t" r="r" b="b"/>
              <a:pathLst>
                <a:path w="10718" h="10716" extrusionOk="0">
                  <a:moveTo>
                    <a:pt x="10717" y="1"/>
                  </a:moveTo>
                  <a:lnTo>
                    <a:pt x="1" y="10715"/>
                  </a:lnTo>
                  <a:cubicBezTo>
                    <a:pt x="4703" y="8488"/>
                    <a:pt x="8489" y="4703"/>
                    <a:pt x="10717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16" name="Google Shape;216;p6"/>
          <p:cNvGrpSpPr/>
          <p:nvPr/>
        </p:nvGrpSpPr>
        <p:grpSpPr>
          <a:xfrm rot="5400000">
            <a:off x="-567223" y="4290755"/>
            <a:ext cx="1384605" cy="1384605"/>
            <a:chOff x="238125" y="2189800"/>
            <a:chExt cx="1119325" cy="1119325"/>
          </a:xfrm>
        </p:grpSpPr>
        <p:sp>
          <p:nvSpPr>
            <p:cNvPr id="217" name="Google Shape;217;p6"/>
            <p:cNvSpPr/>
            <p:nvPr/>
          </p:nvSpPr>
          <p:spPr>
            <a:xfrm>
              <a:off x="289900" y="2241600"/>
              <a:ext cx="267950" cy="267950"/>
            </a:xfrm>
            <a:custGeom>
              <a:avLst/>
              <a:gdLst/>
              <a:ahLst/>
              <a:cxnLst/>
              <a:rect l="l" t="t" r="r" b="b"/>
              <a:pathLst>
                <a:path w="10718" h="10718" extrusionOk="0">
                  <a:moveTo>
                    <a:pt x="10717" y="1"/>
                  </a:moveTo>
                  <a:lnTo>
                    <a:pt x="10717" y="1"/>
                  </a:lnTo>
                  <a:cubicBezTo>
                    <a:pt x="8382" y="1104"/>
                    <a:pt x="6257" y="2604"/>
                    <a:pt x="4431" y="4431"/>
                  </a:cubicBezTo>
                  <a:cubicBezTo>
                    <a:pt x="2604" y="6255"/>
                    <a:pt x="1106" y="8382"/>
                    <a:pt x="1" y="10717"/>
                  </a:cubicBezTo>
                  <a:lnTo>
                    <a:pt x="10717" y="1"/>
                  </a:lnTo>
                  <a:close/>
                </a:path>
              </a:pathLst>
            </a:custGeom>
            <a:solidFill>
              <a:schemeClr val="dk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8" name="Google Shape;218;p6"/>
            <p:cNvSpPr/>
            <p:nvPr/>
          </p:nvSpPr>
          <p:spPr>
            <a:xfrm>
              <a:off x="238275" y="2189975"/>
              <a:ext cx="511350" cy="511375"/>
            </a:xfrm>
            <a:custGeom>
              <a:avLst/>
              <a:gdLst/>
              <a:ahLst/>
              <a:cxnLst/>
              <a:rect l="l" t="t" r="r" b="b"/>
              <a:pathLst>
                <a:path w="20454" h="20455" extrusionOk="0">
                  <a:moveTo>
                    <a:pt x="20453" y="1"/>
                  </a:moveTo>
                  <a:lnTo>
                    <a:pt x="20453" y="1"/>
                  </a:lnTo>
                  <a:cubicBezTo>
                    <a:pt x="19736" y="63"/>
                    <a:pt x="19023" y="158"/>
                    <a:pt x="18312" y="287"/>
                  </a:cubicBezTo>
                  <a:lnTo>
                    <a:pt x="289" y="18312"/>
                  </a:lnTo>
                  <a:cubicBezTo>
                    <a:pt x="159" y="19023"/>
                    <a:pt x="63" y="19736"/>
                    <a:pt x="1" y="20455"/>
                  </a:cubicBezTo>
                  <a:lnTo>
                    <a:pt x="20453" y="1"/>
                  </a:lnTo>
                  <a:close/>
                </a:path>
              </a:pathLst>
            </a:custGeom>
            <a:solidFill>
              <a:schemeClr val="dk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19" name="Google Shape;219;p6"/>
            <p:cNvSpPr/>
            <p:nvPr/>
          </p:nvSpPr>
          <p:spPr>
            <a:xfrm>
              <a:off x="238125" y="2189800"/>
              <a:ext cx="646975" cy="646950"/>
            </a:xfrm>
            <a:custGeom>
              <a:avLst/>
              <a:gdLst/>
              <a:ahLst/>
              <a:cxnLst/>
              <a:rect l="l" t="t" r="r" b="b"/>
              <a:pathLst>
                <a:path w="25879" h="25878" extrusionOk="0">
                  <a:moveTo>
                    <a:pt x="24220" y="1"/>
                  </a:moveTo>
                  <a:lnTo>
                    <a:pt x="0" y="24221"/>
                  </a:lnTo>
                  <a:cubicBezTo>
                    <a:pt x="46" y="24774"/>
                    <a:pt x="111" y="25327"/>
                    <a:pt x="197" y="25877"/>
                  </a:cubicBezTo>
                  <a:lnTo>
                    <a:pt x="25878" y="197"/>
                  </a:lnTo>
                  <a:cubicBezTo>
                    <a:pt x="25328" y="111"/>
                    <a:pt x="24775" y="45"/>
                    <a:pt x="24220" y="1"/>
                  </a:cubicBezTo>
                  <a:close/>
                </a:path>
              </a:pathLst>
            </a:custGeom>
            <a:solidFill>
              <a:schemeClr val="dk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0" name="Google Shape;220;p6"/>
            <p:cNvSpPr/>
            <p:nvPr/>
          </p:nvSpPr>
          <p:spPr>
            <a:xfrm>
              <a:off x="260500" y="2212175"/>
              <a:ext cx="735575" cy="735575"/>
            </a:xfrm>
            <a:custGeom>
              <a:avLst/>
              <a:gdLst/>
              <a:ahLst/>
              <a:cxnLst/>
              <a:rect l="l" t="t" r="r" b="b"/>
              <a:pathLst>
                <a:path w="29423" h="29423" extrusionOk="0">
                  <a:moveTo>
                    <a:pt x="28037" y="0"/>
                  </a:moveTo>
                  <a:lnTo>
                    <a:pt x="1" y="28036"/>
                  </a:lnTo>
                  <a:cubicBezTo>
                    <a:pt x="143" y="28502"/>
                    <a:pt x="298" y="28964"/>
                    <a:pt x="470" y="29423"/>
                  </a:cubicBezTo>
                  <a:lnTo>
                    <a:pt x="29422" y="471"/>
                  </a:lnTo>
                  <a:cubicBezTo>
                    <a:pt x="28965" y="299"/>
                    <a:pt x="28503" y="142"/>
                    <a:pt x="28037" y="0"/>
                  </a:cubicBezTo>
                  <a:close/>
                </a:path>
              </a:pathLst>
            </a:custGeom>
            <a:solidFill>
              <a:schemeClr val="dk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1" name="Google Shape;221;p6"/>
            <p:cNvSpPr/>
            <p:nvPr/>
          </p:nvSpPr>
          <p:spPr>
            <a:xfrm>
              <a:off x="301425" y="2253075"/>
              <a:ext cx="788775" cy="788825"/>
            </a:xfrm>
            <a:custGeom>
              <a:avLst/>
              <a:gdLst/>
              <a:ahLst/>
              <a:cxnLst/>
              <a:rect l="l" t="t" r="r" b="b"/>
              <a:pathLst>
                <a:path w="31551" h="31553" extrusionOk="0">
                  <a:moveTo>
                    <a:pt x="30370" y="1"/>
                  </a:moveTo>
                  <a:lnTo>
                    <a:pt x="0" y="30371"/>
                  </a:lnTo>
                  <a:cubicBezTo>
                    <a:pt x="211" y="30770"/>
                    <a:pt x="436" y="31164"/>
                    <a:pt x="675" y="31552"/>
                  </a:cubicBezTo>
                  <a:lnTo>
                    <a:pt x="31551" y="675"/>
                  </a:lnTo>
                  <a:cubicBezTo>
                    <a:pt x="31163" y="437"/>
                    <a:pt x="30770" y="213"/>
                    <a:pt x="30370" y="1"/>
                  </a:cubicBezTo>
                  <a:close/>
                </a:path>
              </a:pathLst>
            </a:custGeom>
            <a:solidFill>
              <a:schemeClr val="dk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2" name="Google Shape;222;p6"/>
            <p:cNvSpPr/>
            <p:nvPr/>
          </p:nvSpPr>
          <p:spPr>
            <a:xfrm>
              <a:off x="356800" y="2308450"/>
              <a:ext cx="813925" cy="813925"/>
            </a:xfrm>
            <a:custGeom>
              <a:avLst/>
              <a:gdLst/>
              <a:ahLst/>
              <a:cxnLst/>
              <a:rect l="l" t="t" r="r" b="b"/>
              <a:pathLst>
                <a:path w="32557" h="32557" extrusionOk="0">
                  <a:moveTo>
                    <a:pt x="31547" y="1"/>
                  </a:moveTo>
                  <a:lnTo>
                    <a:pt x="0" y="31549"/>
                  </a:lnTo>
                  <a:cubicBezTo>
                    <a:pt x="270" y="31890"/>
                    <a:pt x="552" y="32227"/>
                    <a:pt x="846" y="32556"/>
                  </a:cubicBezTo>
                  <a:lnTo>
                    <a:pt x="32556" y="848"/>
                  </a:lnTo>
                  <a:cubicBezTo>
                    <a:pt x="32226" y="554"/>
                    <a:pt x="31890" y="272"/>
                    <a:pt x="31547" y="1"/>
                  </a:cubicBezTo>
                  <a:close/>
                </a:path>
              </a:pathLst>
            </a:custGeom>
            <a:solidFill>
              <a:schemeClr val="dk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3" name="Google Shape;223;p6"/>
            <p:cNvSpPr/>
            <p:nvPr/>
          </p:nvSpPr>
          <p:spPr>
            <a:xfrm>
              <a:off x="424825" y="2376525"/>
              <a:ext cx="813925" cy="813925"/>
            </a:xfrm>
            <a:custGeom>
              <a:avLst/>
              <a:gdLst/>
              <a:ahLst/>
              <a:cxnLst/>
              <a:rect l="l" t="t" r="r" b="b"/>
              <a:pathLst>
                <a:path w="32557" h="32557" extrusionOk="0">
                  <a:moveTo>
                    <a:pt x="31711" y="1"/>
                  </a:moveTo>
                  <a:lnTo>
                    <a:pt x="1" y="31709"/>
                  </a:lnTo>
                  <a:cubicBezTo>
                    <a:pt x="331" y="32003"/>
                    <a:pt x="667" y="32286"/>
                    <a:pt x="1010" y="32556"/>
                  </a:cubicBezTo>
                  <a:lnTo>
                    <a:pt x="32557" y="1010"/>
                  </a:lnTo>
                  <a:cubicBezTo>
                    <a:pt x="32287" y="667"/>
                    <a:pt x="32005" y="330"/>
                    <a:pt x="31711" y="1"/>
                  </a:cubicBezTo>
                  <a:close/>
                </a:path>
              </a:pathLst>
            </a:custGeom>
            <a:solidFill>
              <a:schemeClr val="dk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4" name="Google Shape;224;p6"/>
            <p:cNvSpPr/>
            <p:nvPr/>
          </p:nvSpPr>
          <p:spPr>
            <a:xfrm>
              <a:off x="505350" y="2457000"/>
              <a:ext cx="788775" cy="788875"/>
            </a:xfrm>
            <a:custGeom>
              <a:avLst/>
              <a:gdLst/>
              <a:ahLst/>
              <a:cxnLst/>
              <a:rect l="l" t="t" r="r" b="b"/>
              <a:pathLst>
                <a:path w="31551" h="31555" extrusionOk="0">
                  <a:moveTo>
                    <a:pt x="30878" y="1"/>
                  </a:moveTo>
                  <a:lnTo>
                    <a:pt x="0" y="30879"/>
                  </a:lnTo>
                  <a:cubicBezTo>
                    <a:pt x="388" y="31116"/>
                    <a:pt x="782" y="31340"/>
                    <a:pt x="1181" y="31554"/>
                  </a:cubicBezTo>
                  <a:lnTo>
                    <a:pt x="31551" y="1182"/>
                  </a:lnTo>
                  <a:cubicBezTo>
                    <a:pt x="31340" y="783"/>
                    <a:pt x="31116" y="389"/>
                    <a:pt x="30878" y="1"/>
                  </a:cubicBezTo>
                  <a:close/>
                </a:path>
              </a:pathLst>
            </a:custGeom>
            <a:solidFill>
              <a:schemeClr val="dk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5" name="Google Shape;225;p6"/>
            <p:cNvSpPr/>
            <p:nvPr/>
          </p:nvSpPr>
          <p:spPr>
            <a:xfrm>
              <a:off x="599500" y="2551175"/>
              <a:ext cx="735550" cy="735550"/>
            </a:xfrm>
            <a:custGeom>
              <a:avLst/>
              <a:gdLst/>
              <a:ahLst/>
              <a:cxnLst/>
              <a:rect l="l" t="t" r="r" b="b"/>
              <a:pathLst>
                <a:path w="29422" h="29422" extrusionOk="0">
                  <a:moveTo>
                    <a:pt x="28952" y="1"/>
                  </a:moveTo>
                  <a:lnTo>
                    <a:pt x="0" y="28953"/>
                  </a:lnTo>
                  <a:cubicBezTo>
                    <a:pt x="457" y="29125"/>
                    <a:pt x="919" y="29282"/>
                    <a:pt x="1385" y="29422"/>
                  </a:cubicBezTo>
                  <a:lnTo>
                    <a:pt x="29421" y="1386"/>
                  </a:lnTo>
                  <a:cubicBezTo>
                    <a:pt x="29281" y="920"/>
                    <a:pt x="29124" y="458"/>
                    <a:pt x="28952" y="1"/>
                  </a:cubicBezTo>
                  <a:close/>
                </a:path>
              </a:pathLst>
            </a:custGeom>
            <a:solidFill>
              <a:schemeClr val="dk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6" name="Google Shape;226;p6"/>
            <p:cNvSpPr/>
            <p:nvPr/>
          </p:nvSpPr>
          <p:spPr>
            <a:xfrm>
              <a:off x="710450" y="2662150"/>
              <a:ext cx="647000" cy="646975"/>
            </a:xfrm>
            <a:custGeom>
              <a:avLst/>
              <a:gdLst/>
              <a:ahLst/>
              <a:cxnLst/>
              <a:rect l="l" t="t" r="r" b="b"/>
              <a:pathLst>
                <a:path w="25880" h="25879" extrusionOk="0">
                  <a:moveTo>
                    <a:pt x="25682" y="1"/>
                  </a:moveTo>
                  <a:lnTo>
                    <a:pt x="1" y="25681"/>
                  </a:lnTo>
                  <a:cubicBezTo>
                    <a:pt x="552" y="25767"/>
                    <a:pt x="1104" y="25833"/>
                    <a:pt x="1659" y="25879"/>
                  </a:cubicBezTo>
                  <a:lnTo>
                    <a:pt x="25879" y="1659"/>
                  </a:lnTo>
                  <a:cubicBezTo>
                    <a:pt x="25834" y="1104"/>
                    <a:pt x="25768" y="551"/>
                    <a:pt x="25682" y="1"/>
                  </a:cubicBezTo>
                  <a:close/>
                </a:path>
              </a:pathLst>
            </a:custGeom>
            <a:solidFill>
              <a:schemeClr val="dk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7" name="Google Shape;227;p6"/>
            <p:cNvSpPr/>
            <p:nvPr/>
          </p:nvSpPr>
          <p:spPr>
            <a:xfrm>
              <a:off x="845925" y="2797575"/>
              <a:ext cx="511350" cy="511350"/>
            </a:xfrm>
            <a:custGeom>
              <a:avLst/>
              <a:gdLst/>
              <a:ahLst/>
              <a:cxnLst/>
              <a:rect l="l" t="t" r="r" b="b"/>
              <a:pathLst>
                <a:path w="20454" h="20454" extrusionOk="0">
                  <a:moveTo>
                    <a:pt x="20453" y="1"/>
                  </a:moveTo>
                  <a:lnTo>
                    <a:pt x="1" y="20453"/>
                  </a:lnTo>
                  <a:cubicBezTo>
                    <a:pt x="718" y="20391"/>
                    <a:pt x="1431" y="20297"/>
                    <a:pt x="2142" y="20167"/>
                  </a:cubicBezTo>
                  <a:lnTo>
                    <a:pt x="20165" y="2142"/>
                  </a:lnTo>
                  <a:cubicBezTo>
                    <a:pt x="20295" y="1433"/>
                    <a:pt x="20391" y="720"/>
                    <a:pt x="20453" y="1"/>
                  </a:cubicBezTo>
                  <a:close/>
                </a:path>
              </a:pathLst>
            </a:custGeom>
            <a:solidFill>
              <a:schemeClr val="dk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28" name="Google Shape;228;p6"/>
            <p:cNvSpPr/>
            <p:nvPr/>
          </p:nvSpPr>
          <p:spPr>
            <a:xfrm>
              <a:off x="1037700" y="2989400"/>
              <a:ext cx="267950" cy="267900"/>
            </a:xfrm>
            <a:custGeom>
              <a:avLst/>
              <a:gdLst/>
              <a:ahLst/>
              <a:cxnLst/>
              <a:rect l="l" t="t" r="r" b="b"/>
              <a:pathLst>
                <a:path w="10718" h="10716" extrusionOk="0">
                  <a:moveTo>
                    <a:pt x="10717" y="1"/>
                  </a:moveTo>
                  <a:lnTo>
                    <a:pt x="1" y="10715"/>
                  </a:lnTo>
                  <a:cubicBezTo>
                    <a:pt x="4703" y="8488"/>
                    <a:pt x="8489" y="4703"/>
                    <a:pt x="10717" y="1"/>
                  </a:cubicBezTo>
                  <a:close/>
                </a:path>
              </a:pathLst>
            </a:custGeom>
            <a:solidFill>
              <a:schemeClr val="dk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29" name="Google Shape;229;p6"/>
          <p:cNvGrpSpPr/>
          <p:nvPr/>
        </p:nvGrpSpPr>
        <p:grpSpPr>
          <a:xfrm>
            <a:off x="8831587" y="4180228"/>
            <a:ext cx="212442" cy="211991"/>
            <a:chOff x="3510300" y="2634425"/>
            <a:chExt cx="576975" cy="575750"/>
          </a:xfrm>
        </p:grpSpPr>
        <p:sp>
          <p:nvSpPr>
            <p:cNvPr id="230" name="Google Shape;230;p6"/>
            <p:cNvSpPr/>
            <p:nvPr/>
          </p:nvSpPr>
          <p:spPr>
            <a:xfrm>
              <a:off x="3743325" y="2634425"/>
              <a:ext cx="110925" cy="575750"/>
            </a:xfrm>
            <a:custGeom>
              <a:avLst/>
              <a:gdLst/>
              <a:ahLst/>
              <a:cxnLst/>
              <a:rect l="l" t="t" r="r" b="b"/>
              <a:pathLst>
                <a:path w="4437" h="23030" extrusionOk="0">
                  <a:moveTo>
                    <a:pt x="2193" y="1"/>
                  </a:moveTo>
                  <a:cubicBezTo>
                    <a:pt x="997" y="1"/>
                    <a:pt x="0" y="998"/>
                    <a:pt x="0" y="2194"/>
                  </a:cubicBezTo>
                  <a:lnTo>
                    <a:pt x="0" y="20786"/>
                  </a:lnTo>
                  <a:cubicBezTo>
                    <a:pt x="0" y="22032"/>
                    <a:pt x="997" y="23029"/>
                    <a:pt x="2193" y="23029"/>
                  </a:cubicBezTo>
                  <a:cubicBezTo>
                    <a:pt x="3440" y="23029"/>
                    <a:pt x="4437" y="22032"/>
                    <a:pt x="4437" y="20786"/>
                  </a:cubicBezTo>
                  <a:lnTo>
                    <a:pt x="4437" y="2194"/>
                  </a:lnTo>
                  <a:cubicBezTo>
                    <a:pt x="4437" y="998"/>
                    <a:pt x="3440" y="1"/>
                    <a:pt x="2193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1" name="Google Shape;231;p6"/>
            <p:cNvSpPr/>
            <p:nvPr/>
          </p:nvSpPr>
          <p:spPr>
            <a:xfrm>
              <a:off x="3510300" y="2866200"/>
              <a:ext cx="576975" cy="112175"/>
            </a:xfrm>
            <a:custGeom>
              <a:avLst/>
              <a:gdLst/>
              <a:ahLst/>
              <a:cxnLst/>
              <a:rect l="l" t="t" r="r" b="b"/>
              <a:pathLst>
                <a:path w="23079" h="4487" extrusionOk="0">
                  <a:moveTo>
                    <a:pt x="2243" y="1"/>
                  </a:moveTo>
                  <a:cubicBezTo>
                    <a:pt x="997" y="1"/>
                    <a:pt x="0" y="998"/>
                    <a:pt x="0" y="2244"/>
                  </a:cubicBezTo>
                  <a:cubicBezTo>
                    <a:pt x="0" y="3440"/>
                    <a:pt x="997" y="4437"/>
                    <a:pt x="2243" y="4487"/>
                  </a:cubicBezTo>
                  <a:lnTo>
                    <a:pt x="20836" y="4487"/>
                  </a:lnTo>
                  <a:cubicBezTo>
                    <a:pt x="22082" y="4437"/>
                    <a:pt x="23079" y="3440"/>
                    <a:pt x="23079" y="2244"/>
                  </a:cubicBezTo>
                  <a:cubicBezTo>
                    <a:pt x="23029" y="998"/>
                    <a:pt x="22032" y="1"/>
                    <a:pt x="20836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32" name="Google Shape;232;p6"/>
          <p:cNvGrpSpPr/>
          <p:nvPr/>
        </p:nvGrpSpPr>
        <p:grpSpPr>
          <a:xfrm>
            <a:off x="8592222" y="4604439"/>
            <a:ext cx="424538" cy="423522"/>
            <a:chOff x="3510300" y="2634425"/>
            <a:chExt cx="576975" cy="575750"/>
          </a:xfrm>
        </p:grpSpPr>
        <p:sp>
          <p:nvSpPr>
            <p:cNvPr id="233" name="Google Shape;233;p6"/>
            <p:cNvSpPr/>
            <p:nvPr/>
          </p:nvSpPr>
          <p:spPr>
            <a:xfrm>
              <a:off x="3743325" y="2634425"/>
              <a:ext cx="110925" cy="575750"/>
            </a:xfrm>
            <a:custGeom>
              <a:avLst/>
              <a:gdLst/>
              <a:ahLst/>
              <a:cxnLst/>
              <a:rect l="l" t="t" r="r" b="b"/>
              <a:pathLst>
                <a:path w="4437" h="23030" extrusionOk="0">
                  <a:moveTo>
                    <a:pt x="2193" y="1"/>
                  </a:moveTo>
                  <a:cubicBezTo>
                    <a:pt x="997" y="1"/>
                    <a:pt x="0" y="998"/>
                    <a:pt x="0" y="2194"/>
                  </a:cubicBezTo>
                  <a:lnTo>
                    <a:pt x="0" y="20786"/>
                  </a:lnTo>
                  <a:cubicBezTo>
                    <a:pt x="0" y="22032"/>
                    <a:pt x="997" y="23029"/>
                    <a:pt x="2193" y="23029"/>
                  </a:cubicBezTo>
                  <a:cubicBezTo>
                    <a:pt x="3440" y="23029"/>
                    <a:pt x="4437" y="22032"/>
                    <a:pt x="4437" y="20786"/>
                  </a:cubicBezTo>
                  <a:lnTo>
                    <a:pt x="4437" y="2194"/>
                  </a:lnTo>
                  <a:cubicBezTo>
                    <a:pt x="4437" y="998"/>
                    <a:pt x="3440" y="1"/>
                    <a:pt x="2193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4" name="Google Shape;234;p6"/>
            <p:cNvSpPr/>
            <p:nvPr/>
          </p:nvSpPr>
          <p:spPr>
            <a:xfrm>
              <a:off x="3510300" y="2866200"/>
              <a:ext cx="576975" cy="112175"/>
            </a:xfrm>
            <a:custGeom>
              <a:avLst/>
              <a:gdLst/>
              <a:ahLst/>
              <a:cxnLst/>
              <a:rect l="l" t="t" r="r" b="b"/>
              <a:pathLst>
                <a:path w="23079" h="4487" extrusionOk="0">
                  <a:moveTo>
                    <a:pt x="2243" y="1"/>
                  </a:moveTo>
                  <a:cubicBezTo>
                    <a:pt x="997" y="1"/>
                    <a:pt x="0" y="998"/>
                    <a:pt x="0" y="2244"/>
                  </a:cubicBezTo>
                  <a:cubicBezTo>
                    <a:pt x="0" y="3440"/>
                    <a:pt x="997" y="4437"/>
                    <a:pt x="2243" y="4487"/>
                  </a:cubicBezTo>
                  <a:lnTo>
                    <a:pt x="20836" y="4487"/>
                  </a:lnTo>
                  <a:cubicBezTo>
                    <a:pt x="22082" y="4437"/>
                    <a:pt x="23079" y="3440"/>
                    <a:pt x="23079" y="2244"/>
                  </a:cubicBezTo>
                  <a:cubicBezTo>
                    <a:pt x="23029" y="998"/>
                    <a:pt x="22032" y="1"/>
                    <a:pt x="20836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35" name="Google Shape;235;p6"/>
          <p:cNvGrpSpPr/>
          <p:nvPr/>
        </p:nvGrpSpPr>
        <p:grpSpPr>
          <a:xfrm rot="5400000">
            <a:off x="8456481" y="-301065"/>
            <a:ext cx="962620" cy="962620"/>
            <a:chOff x="238125" y="2189800"/>
            <a:chExt cx="1119325" cy="1119325"/>
          </a:xfrm>
        </p:grpSpPr>
        <p:sp>
          <p:nvSpPr>
            <p:cNvPr id="236" name="Google Shape;236;p6"/>
            <p:cNvSpPr/>
            <p:nvPr/>
          </p:nvSpPr>
          <p:spPr>
            <a:xfrm>
              <a:off x="289900" y="2241600"/>
              <a:ext cx="267950" cy="267950"/>
            </a:xfrm>
            <a:custGeom>
              <a:avLst/>
              <a:gdLst/>
              <a:ahLst/>
              <a:cxnLst/>
              <a:rect l="l" t="t" r="r" b="b"/>
              <a:pathLst>
                <a:path w="10718" h="10718" extrusionOk="0">
                  <a:moveTo>
                    <a:pt x="10717" y="1"/>
                  </a:moveTo>
                  <a:lnTo>
                    <a:pt x="10717" y="1"/>
                  </a:lnTo>
                  <a:cubicBezTo>
                    <a:pt x="8382" y="1104"/>
                    <a:pt x="6257" y="2604"/>
                    <a:pt x="4431" y="4431"/>
                  </a:cubicBezTo>
                  <a:cubicBezTo>
                    <a:pt x="2604" y="6255"/>
                    <a:pt x="1106" y="8382"/>
                    <a:pt x="1" y="10717"/>
                  </a:cubicBezTo>
                  <a:lnTo>
                    <a:pt x="10717" y="1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7" name="Google Shape;237;p6"/>
            <p:cNvSpPr/>
            <p:nvPr/>
          </p:nvSpPr>
          <p:spPr>
            <a:xfrm>
              <a:off x="238275" y="2189975"/>
              <a:ext cx="511350" cy="511375"/>
            </a:xfrm>
            <a:custGeom>
              <a:avLst/>
              <a:gdLst/>
              <a:ahLst/>
              <a:cxnLst/>
              <a:rect l="l" t="t" r="r" b="b"/>
              <a:pathLst>
                <a:path w="20454" h="20455" extrusionOk="0">
                  <a:moveTo>
                    <a:pt x="20453" y="1"/>
                  </a:moveTo>
                  <a:lnTo>
                    <a:pt x="20453" y="1"/>
                  </a:lnTo>
                  <a:cubicBezTo>
                    <a:pt x="19736" y="63"/>
                    <a:pt x="19023" y="158"/>
                    <a:pt x="18312" y="287"/>
                  </a:cubicBezTo>
                  <a:lnTo>
                    <a:pt x="289" y="18312"/>
                  </a:lnTo>
                  <a:cubicBezTo>
                    <a:pt x="159" y="19023"/>
                    <a:pt x="63" y="19736"/>
                    <a:pt x="1" y="20455"/>
                  </a:cubicBezTo>
                  <a:lnTo>
                    <a:pt x="20453" y="1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8" name="Google Shape;238;p6"/>
            <p:cNvSpPr/>
            <p:nvPr/>
          </p:nvSpPr>
          <p:spPr>
            <a:xfrm>
              <a:off x="238125" y="2189800"/>
              <a:ext cx="646975" cy="646950"/>
            </a:xfrm>
            <a:custGeom>
              <a:avLst/>
              <a:gdLst/>
              <a:ahLst/>
              <a:cxnLst/>
              <a:rect l="l" t="t" r="r" b="b"/>
              <a:pathLst>
                <a:path w="25879" h="25878" extrusionOk="0">
                  <a:moveTo>
                    <a:pt x="24220" y="1"/>
                  </a:moveTo>
                  <a:lnTo>
                    <a:pt x="0" y="24221"/>
                  </a:lnTo>
                  <a:cubicBezTo>
                    <a:pt x="46" y="24774"/>
                    <a:pt x="111" y="25327"/>
                    <a:pt x="197" y="25877"/>
                  </a:cubicBezTo>
                  <a:lnTo>
                    <a:pt x="25878" y="197"/>
                  </a:lnTo>
                  <a:cubicBezTo>
                    <a:pt x="25328" y="111"/>
                    <a:pt x="24775" y="45"/>
                    <a:pt x="24220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39" name="Google Shape;239;p6"/>
            <p:cNvSpPr/>
            <p:nvPr/>
          </p:nvSpPr>
          <p:spPr>
            <a:xfrm>
              <a:off x="260500" y="2212175"/>
              <a:ext cx="735575" cy="735575"/>
            </a:xfrm>
            <a:custGeom>
              <a:avLst/>
              <a:gdLst/>
              <a:ahLst/>
              <a:cxnLst/>
              <a:rect l="l" t="t" r="r" b="b"/>
              <a:pathLst>
                <a:path w="29423" h="29423" extrusionOk="0">
                  <a:moveTo>
                    <a:pt x="28037" y="0"/>
                  </a:moveTo>
                  <a:lnTo>
                    <a:pt x="1" y="28036"/>
                  </a:lnTo>
                  <a:cubicBezTo>
                    <a:pt x="143" y="28502"/>
                    <a:pt x="298" y="28964"/>
                    <a:pt x="470" y="29423"/>
                  </a:cubicBezTo>
                  <a:lnTo>
                    <a:pt x="29422" y="471"/>
                  </a:lnTo>
                  <a:cubicBezTo>
                    <a:pt x="28965" y="299"/>
                    <a:pt x="28503" y="142"/>
                    <a:pt x="28037" y="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0" name="Google Shape;240;p6"/>
            <p:cNvSpPr/>
            <p:nvPr/>
          </p:nvSpPr>
          <p:spPr>
            <a:xfrm>
              <a:off x="301425" y="2253075"/>
              <a:ext cx="788775" cy="788825"/>
            </a:xfrm>
            <a:custGeom>
              <a:avLst/>
              <a:gdLst/>
              <a:ahLst/>
              <a:cxnLst/>
              <a:rect l="l" t="t" r="r" b="b"/>
              <a:pathLst>
                <a:path w="31551" h="31553" extrusionOk="0">
                  <a:moveTo>
                    <a:pt x="30370" y="1"/>
                  </a:moveTo>
                  <a:lnTo>
                    <a:pt x="0" y="30371"/>
                  </a:lnTo>
                  <a:cubicBezTo>
                    <a:pt x="211" y="30770"/>
                    <a:pt x="436" y="31164"/>
                    <a:pt x="675" y="31552"/>
                  </a:cubicBezTo>
                  <a:lnTo>
                    <a:pt x="31551" y="675"/>
                  </a:lnTo>
                  <a:cubicBezTo>
                    <a:pt x="31163" y="437"/>
                    <a:pt x="30770" y="213"/>
                    <a:pt x="30370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1" name="Google Shape;241;p6"/>
            <p:cNvSpPr/>
            <p:nvPr/>
          </p:nvSpPr>
          <p:spPr>
            <a:xfrm>
              <a:off x="356800" y="2308450"/>
              <a:ext cx="813925" cy="813925"/>
            </a:xfrm>
            <a:custGeom>
              <a:avLst/>
              <a:gdLst/>
              <a:ahLst/>
              <a:cxnLst/>
              <a:rect l="l" t="t" r="r" b="b"/>
              <a:pathLst>
                <a:path w="32557" h="32557" extrusionOk="0">
                  <a:moveTo>
                    <a:pt x="31547" y="1"/>
                  </a:moveTo>
                  <a:lnTo>
                    <a:pt x="0" y="31549"/>
                  </a:lnTo>
                  <a:cubicBezTo>
                    <a:pt x="270" y="31890"/>
                    <a:pt x="552" y="32227"/>
                    <a:pt x="846" y="32556"/>
                  </a:cubicBezTo>
                  <a:lnTo>
                    <a:pt x="32556" y="848"/>
                  </a:lnTo>
                  <a:cubicBezTo>
                    <a:pt x="32226" y="554"/>
                    <a:pt x="31890" y="272"/>
                    <a:pt x="31547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2" name="Google Shape;242;p6"/>
            <p:cNvSpPr/>
            <p:nvPr/>
          </p:nvSpPr>
          <p:spPr>
            <a:xfrm>
              <a:off x="424825" y="2376525"/>
              <a:ext cx="813925" cy="813925"/>
            </a:xfrm>
            <a:custGeom>
              <a:avLst/>
              <a:gdLst/>
              <a:ahLst/>
              <a:cxnLst/>
              <a:rect l="l" t="t" r="r" b="b"/>
              <a:pathLst>
                <a:path w="32557" h="32557" extrusionOk="0">
                  <a:moveTo>
                    <a:pt x="31711" y="1"/>
                  </a:moveTo>
                  <a:lnTo>
                    <a:pt x="1" y="31709"/>
                  </a:lnTo>
                  <a:cubicBezTo>
                    <a:pt x="331" y="32003"/>
                    <a:pt x="667" y="32286"/>
                    <a:pt x="1010" y="32556"/>
                  </a:cubicBezTo>
                  <a:lnTo>
                    <a:pt x="32557" y="1010"/>
                  </a:lnTo>
                  <a:cubicBezTo>
                    <a:pt x="32287" y="667"/>
                    <a:pt x="32005" y="330"/>
                    <a:pt x="31711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3" name="Google Shape;243;p6"/>
            <p:cNvSpPr/>
            <p:nvPr/>
          </p:nvSpPr>
          <p:spPr>
            <a:xfrm>
              <a:off x="505350" y="2457000"/>
              <a:ext cx="788775" cy="788875"/>
            </a:xfrm>
            <a:custGeom>
              <a:avLst/>
              <a:gdLst/>
              <a:ahLst/>
              <a:cxnLst/>
              <a:rect l="l" t="t" r="r" b="b"/>
              <a:pathLst>
                <a:path w="31551" h="31555" extrusionOk="0">
                  <a:moveTo>
                    <a:pt x="30878" y="1"/>
                  </a:moveTo>
                  <a:lnTo>
                    <a:pt x="0" y="30879"/>
                  </a:lnTo>
                  <a:cubicBezTo>
                    <a:pt x="388" y="31116"/>
                    <a:pt x="782" y="31340"/>
                    <a:pt x="1181" y="31554"/>
                  </a:cubicBezTo>
                  <a:lnTo>
                    <a:pt x="31551" y="1182"/>
                  </a:lnTo>
                  <a:cubicBezTo>
                    <a:pt x="31340" y="783"/>
                    <a:pt x="31116" y="389"/>
                    <a:pt x="30878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4" name="Google Shape;244;p6"/>
            <p:cNvSpPr/>
            <p:nvPr/>
          </p:nvSpPr>
          <p:spPr>
            <a:xfrm>
              <a:off x="599500" y="2551175"/>
              <a:ext cx="735550" cy="735550"/>
            </a:xfrm>
            <a:custGeom>
              <a:avLst/>
              <a:gdLst/>
              <a:ahLst/>
              <a:cxnLst/>
              <a:rect l="l" t="t" r="r" b="b"/>
              <a:pathLst>
                <a:path w="29422" h="29422" extrusionOk="0">
                  <a:moveTo>
                    <a:pt x="28952" y="1"/>
                  </a:moveTo>
                  <a:lnTo>
                    <a:pt x="0" y="28953"/>
                  </a:lnTo>
                  <a:cubicBezTo>
                    <a:pt x="457" y="29125"/>
                    <a:pt x="919" y="29282"/>
                    <a:pt x="1385" y="29422"/>
                  </a:cubicBezTo>
                  <a:lnTo>
                    <a:pt x="29421" y="1386"/>
                  </a:lnTo>
                  <a:cubicBezTo>
                    <a:pt x="29281" y="920"/>
                    <a:pt x="29124" y="458"/>
                    <a:pt x="28952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5" name="Google Shape;245;p6"/>
            <p:cNvSpPr/>
            <p:nvPr/>
          </p:nvSpPr>
          <p:spPr>
            <a:xfrm>
              <a:off x="710450" y="2662150"/>
              <a:ext cx="647000" cy="646975"/>
            </a:xfrm>
            <a:custGeom>
              <a:avLst/>
              <a:gdLst/>
              <a:ahLst/>
              <a:cxnLst/>
              <a:rect l="l" t="t" r="r" b="b"/>
              <a:pathLst>
                <a:path w="25880" h="25879" extrusionOk="0">
                  <a:moveTo>
                    <a:pt x="25682" y="1"/>
                  </a:moveTo>
                  <a:lnTo>
                    <a:pt x="1" y="25681"/>
                  </a:lnTo>
                  <a:cubicBezTo>
                    <a:pt x="552" y="25767"/>
                    <a:pt x="1104" y="25833"/>
                    <a:pt x="1659" y="25879"/>
                  </a:cubicBezTo>
                  <a:lnTo>
                    <a:pt x="25879" y="1659"/>
                  </a:lnTo>
                  <a:cubicBezTo>
                    <a:pt x="25834" y="1104"/>
                    <a:pt x="25768" y="551"/>
                    <a:pt x="25682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6" name="Google Shape;246;p6"/>
            <p:cNvSpPr/>
            <p:nvPr/>
          </p:nvSpPr>
          <p:spPr>
            <a:xfrm>
              <a:off x="845925" y="2797575"/>
              <a:ext cx="511350" cy="511350"/>
            </a:xfrm>
            <a:custGeom>
              <a:avLst/>
              <a:gdLst/>
              <a:ahLst/>
              <a:cxnLst/>
              <a:rect l="l" t="t" r="r" b="b"/>
              <a:pathLst>
                <a:path w="20454" h="20454" extrusionOk="0">
                  <a:moveTo>
                    <a:pt x="20453" y="1"/>
                  </a:moveTo>
                  <a:lnTo>
                    <a:pt x="1" y="20453"/>
                  </a:lnTo>
                  <a:cubicBezTo>
                    <a:pt x="718" y="20391"/>
                    <a:pt x="1431" y="20297"/>
                    <a:pt x="2142" y="20167"/>
                  </a:cubicBezTo>
                  <a:lnTo>
                    <a:pt x="20165" y="2142"/>
                  </a:lnTo>
                  <a:cubicBezTo>
                    <a:pt x="20295" y="1433"/>
                    <a:pt x="20391" y="720"/>
                    <a:pt x="20453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47" name="Google Shape;247;p6"/>
            <p:cNvSpPr/>
            <p:nvPr/>
          </p:nvSpPr>
          <p:spPr>
            <a:xfrm>
              <a:off x="1037700" y="2989400"/>
              <a:ext cx="267950" cy="267900"/>
            </a:xfrm>
            <a:custGeom>
              <a:avLst/>
              <a:gdLst/>
              <a:ahLst/>
              <a:cxnLst/>
              <a:rect l="l" t="t" r="r" b="b"/>
              <a:pathLst>
                <a:path w="10718" h="10716" extrusionOk="0">
                  <a:moveTo>
                    <a:pt x="10717" y="1"/>
                  </a:moveTo>
                  <a:lnTo>
                    <a:pt x="1" y="10715"/>
                  </a:lnTo>
                  <a:cubicBezTo>
                    <a:pt x="4703" y="8488"/>
                    <a:pt x="8489" y="4703"/>
                    <a:pt x="10717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248" name="Google Shape;248;p6"/>
          <p:cNvGrpSpPr/>
          <p:nvPr/>
        </p:nvGrpSpPr>
        <p:grpSpPr>
          <a:xfrm rot="5400000">
            <a:off x="8728759" y="723429"/>
            <a:ext cx="572647" cy="572647"/>
            <a:chOff x="238125" y="2189800"/>
            <a:chExt cx="1119325" cy="1119325"/>
          </a:xfrm>
        </p:grpSpPr>
        <p:sp>
          <p:nvSpPr>
            <p:cNvPr id="249" name="Google Shape;249;p6"/>
            <p:cNvSpPr/>
            <p:nvPr/>
          </p:nvSpPr>
          <p:spPr>
            <a:xfrm>
              <a:off x="289900" y="2241600"/>
              <a:ext cx="267950" cy="267950"/>
            </a:xfrm>
            <a:custGeom>
              <a:avLst/>
              <a:gdLst/>
              <a:ahLst/>
              <a:cxnLst/>
              <a:rect l="l" t="t" r="r" b="b"/>
              <a:pathLst>
                <a:path w="10718" h="10718" extrusionOk="0">
                  <a:moveTo>
                    <a:pt x="10717" y="1"/>
                  </a:moveTo>
                  <a:lnTo>
                    <a:pt x="10717" y="1"/>
                  </a:lnTo>
                  <a:cubicBezTo>
                    <a:pt x="8382" y="1104"/>
                    <a:pt x="6257" y="2604"/>
                    <a:pt x="4431" y="4431"/>
                  </a:cubicBezTo>
                  <a:cubicBezTo>
                    <a:pt x="2604" y="6255"/>
                    <a:pt x="1106" y="8382"/>
                    <a:pt x="1" y="10717"/>
                  </a:cubicBezTo>
                  <a:lnTo>
                    <a:pt x="10717" y="1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0" name="Google Shape;250;p6"/>
            <p:cNvSpPr/>
            <p:nvPr/>
          </p:nvSpPr>
          <p:spPr>
            <a:xfrm>
              <a:off x="238275" y="2189975"/>
              <a:ext cx="511350" cy="511375"/>
            </a:xfrm>
            <a:custGeom>
              <a:avLst/>
              <a:gdLst/>
              <a:ahLst/>
              <a:cxnLst/>
              <a:rect l="l" t="t" r="r" b="b"/>
              <a:pathLst>
                <a:path w="20454" h="20455" extrusionOk="0">
                  <a:moveTo>
                    <a:pt x="20453" y="1"/>
                  </a:moveTo>
                  <a:lnTo>
                    <a:pt x="20453" y="1"/>
                  </a:lnTo>
                  <a:cubicBezTo>
                    <a:pt x="19736" y="63"/>
                    <a:pt x="19023" y="158"/>
                    <a:pt x="18312" y="287"/>
                  </a:cubicBezTo>
                  <a:lnTo>
                    <a:pt x="289" y="18312"/>
                  </a:lnTo>
                  <a:cubicBezTo>
                    <a:pt x="159" y="19023"/>
                    <a:pt x="63" y="19736"/>
                    <a:pt x="1" y="20455"/>
                  </a:cubicBezTo>
                  <a:lnTo>
                    <a:pt x="20453" y="1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1" name="Google Shape;251;p6"/>
            <p:cNvSpPr/>
            <p:nvPr/>
          </p:nvSpPr>
          <p:spPr>
            <a:xfrm>
              <a:off x="238125" y="2189800"/>
              <a:ext cx="646975" cy="646950"/>
            </a:xfrm>
            <a:custGeom>
              <a:avLst/>
              <a:gdLst/>
              <a:ahLst/>
              <a:cxnLst/>
              <a:rect l="l" t="t" r="r" b="b"/>
              <a:pathLst>
                <a:path w="25879" h="25878" extrusionOk="0">
                  <a:moveTo>
                    <a:pt x="24220" y="1"/>
                  </a:moveTo>
                  <a:lnTo>
                    <a:pt x="0" y="24221"/>
                  </a:lnTo>
                  <a:cubicBezTo>
                    <a:pt x="46" y="24774"/>
                    <a:pt x="111" y="25327"/>
                    <a:pt x="197" y="25877"/>
                  </a:cubicBezTo>
                  <a:lnTo>
                    <a:pt x="25878" y="197"/>
                  </a:lnTo>
                  <a:cubicBezTo>
                    <a:pt x="25328" y="111"/>
                    <a:pt x="24775" y="45"/>
                    <a:pt x="24220" y="1"/>
                  </a:cubicBez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2" name="Google Shape;252;p6"/>
            <p:cNvSpPr/>
            <p:nvPr/>
          </p:nvSpPr>
          <p:spPr>
            <a:xfrm>
              <a:off x="260500" y="2212175"/>
              <a:ext cx="735575" cy="735575"/>
            </a:xfrm>
            <a:custGeom>
              <a:avLst/>
              <a:gdLst/>
              <a:ahLst/>
              <a:cxnLst/>
              <a:rect l="l" t="t" r="r" b="b"/>
              <a:pathLst>
                <a:path w="29423" h="29423" extrusionOk="0">
                  <a:moveTo>
                    <a:pt x="28037" y="0"/>
                  </a:moveTo>
                  <a:lnTo>
                    <a:pt x="1" y="28036"/>
                  </a:lnTo>
                  <a:cubicBezTo>
                    <a:pt x="143" y="28502"/>
                    <a:pt x="298" y="28964"/>
                    <a:pt x="470" y="29423"/>
                  </a:cubicBezTo>
                  <a:lnTo>
                    <a:pt x="29422" y="471"/>
                  </a:lnTo>
                  <a:cubicBezTo>
                    <a:pt x="28965" y="299"/>
                    <a:pt x="28503" y="142"/>
                    <a:pt x="28037" y="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3" name="Google Shape;253;p6"/>
            <p:cNvSpPr/>
            <p:nvPr/>
          </p:nvSpPr>
          <p:spPr>
            <a:xfrm>
              <a:off x="301425" y="2253075"/>
              <a:ext cx="788775" cy="788825"/>
            </a:xfrm>
            <a:custGeom>
              <a:avLst/>
              <a:gdLst/>
              <a:ahLst/>
              <a:cxnLst/>
              <a:rect l="l" t="t" r="r" b="b"/>
              <a:pathLst>
                <a:path w="31551" h="31553" extrusionOk="0">
                  <a:moveTo>
                    <a:pt x="30370" y="1"/>
                  </a:moveTo>
                  <a:lnTo>
                    <a:pt x="0" y="30371"/>
                  </a:lnTo>
                  <a:cubicBezTo>
                    <a:pt x="211" y="30770"/>
                    <a:pt x="436" y="31164"/>
                    <a:pt x="675" y="31552"/>
                  </a:cubicBezTo>
                  <a:lnTo>
                    <a:pt x="31551" y="675"/>
                  </a:lnTo>
                  <a:cubicBezTo>
                    <a:pt x="31163" y="437"/>
                    <a:pt x="30770" y="213"/>
                    <a:pt x="30370" y="1"/>
                  </a:cubicBez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4" name="Google Shape;254;p6"/>
            <p:cNvSpPr/>
            <p:nvPr/>
          </p:nvSpPr>
          <p:spPr>
            <a:xfrm>
              <a:off x="356800" y="2308450"/>
              <a:ext cx="813925" cy="813925"/>
            </a:xfrm>
            <a:custGeom>
              <a:avLst/>
              <a:gdLst/>
              <a:ahLst/>
              <a:cxnLst/>
              <a:rect l="l" t="t" r="r" b="b"/>
              <a:pathLst>
                <a:path w="32557" h="32557" extrusionOk="0">
                  <a:moveTo>
                    <a:pt x="31547" y="1"/>
                  </a:moveTo>
                  <a:lnTo>
                    <a:pt x="0" y="31549"/>
                  </a:lnTo>
                  <a:cubicBezTo>
                    <a:pt x="270" y="31890"/>
                    <a:pt x="552" y="32227"/>
                    <a:pt x="846" y="32556"/>
                  </a:cubicBezTo>
                  <a:lnTo>
                    <a:pt x="32556" y="848"/>
                  </a:lnTo>
                  <a:cubicBezTo>
                    <a:pt x="32226" y="554"/>
                    <a:pt x="31890" y="272"/>
                    <a:pt x="31547" y="1"/>
                  </a:cubicBez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5" name="Google Shape;255;p6"/>
            <p:cNvSpPr/>
            <p:nvPr/>
          </p:nvSpPr>
          <p:spPr>
            <a:xfrm>
              <a:off x="424825" y="2376525"/>
              <a:ext cx="813925" cy="813925"/>
            </a:xfrm>
            <a:custGeom>
              <a:avLst/>
              <a:gdLst/>
              <a:ahLst/>
              <a:cxnLst/>
              <a:rect l="l" t="t" r="r" b="b"/>
              <a:pathLst>
                <a:path w="32557" h="32557" extrusionOk="0">
                  <a:moveTo>
                    <a:pt x="31711" y="1"/>
                  </a:moveTo>
                  <a:lnTo>
                    <a:pt x="1" y="31709"/>
                  </a:lnTo>
                  <a:cubicBezTo>
                    <a:pt x="331" y="32003"/>
                    <a:pt x="667" y="32286"/>
                    <a:pt x="1010" y="32556"/>
                  </a:cubicBezTo>
                  <a:lnTo>
                    <a:pt x="32557" y="1010"/>
                  </a:lnTo>
                  <a:cubicBezTo>
                    <a:pt x="32287" y="667"/>
                    <a:pt x="32005" y="330"/>
                    <a:pt x="31711" y="1"/>
                  </a:cubicBez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6" name="Google Shape;256;p6"/>
            <p:cNvSpPr/>
            <p:nvPr/>
          </p:nvSpPr>
          <p:spPr>
            <a:xfrm>
              <a:off x="505350" y="2457000"/>
              <a:ext cx="788775" cy="788875"/>
            </a:xfrm>
            <a:custGeom>
              <a:avLst/>
              <a:gdLst/>
              <a:ahLst/>
              <a:cxnLst/>
              <a:rect l="l" t="t" r="r" b="b"/>
              <a:pathLst>
                <a:path w="31551" h="31555" extrusionOk="0">
                  <a:moveTo>
                    <a:pt x="30878" y="1"/>
                  </a:moveTo>
                  <a:lnTo>
                    <a:pt x="0" y="30879"/>
                  </a:lnTo>
                  <a:cubicBezTo>
                    <a:pt x="388" y="31116"/>
                    <a:pt x="782" y="31340"/>
                    <a:pt x="1181" y="31554"/>
                  </a:cubicBezTo>
                  <a:lnTo>
                    <a:pt x="31551" y="1182"/>
                  </a:lnTo>
                  <a:cubicBezTo>
                    <a:pt x="31340" y="783"/>
                    <a:pt x="31116" y="389"/>
                    <a:pt x="30878" y="1"/>
                  </a:cubicBez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7" name="Google Shape;257;p6"/>
            <p:cNvSpPr/>
            <p:nvPr/>
          </p:nvSpPr>
          <p:spPr>
            <a:xfrm>
              <a:off x="599500" y="2551175"/>
              <a:ext cx="735550" cy="735550"/>
            </a:xfrm>
            <a:custGeom>
              <a:avLst/>
              <a:gdLst/>
              <a:ahLst/>
              <a:cxnLst/>
              <a:rect l="l" t="t" r="r" b="b"/>
              <a:pathLst>
                <a:path w="29422" h="29422" extrusionOk="0">
                  <a:moveTo>
                    <a:pt x="28952" y="1"/>
                  </a:moveTo>
                  <a:lnTo>
                    <a:pt x="0" y="28953"/>
                  </a:lnTo>
                  <a:cubicBezTo>
                    <a:pt x="457" y="29125"/>
                    <a:pt x="919" y="29282"/>
                    <a:pt x="1385" y="29422"/>
                  </a:cubicBezTo>
                  <a:lnTo>
                    <a:pt x="29421" y="1386"/>
                  </a:lnTo>
                  <a:cubicBezTo>
                    <a:pt x="29281" y="920"/>
                    <a:pt x="29124" y="458"/>
                    <a:pt x="28952" y="1"/>
                  </a:cubicBez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8" name="Google Shape;258;p6"/>
            <p:cNvSpPr/>
            <p:nvPr/>
          </p:nvSpPr>
          <p:spPr>
            <a:xfrm>
              <a:off x="710450" y="2662150"/>
              <a:ext cx="647000" cy="646975"/>
            </a:xfrm>
            <a:custGeom>
              <a:avLst/>
              <a:gdLst/>
              <a:ahLst/>
              <a:cxnLst/>
              <a:rect l="l" t="t" r="r" b="b"/>
              <a:pathLst>
                <a:path w="25880" h="25879" extrusionOk="0">
                  <a:moveTo>
                    <a:pt x="25682" y="1"/>
                  </a:moveTo>
                  <a:lnTo>
                    <a:pt x="1" y="25681"/>
                  </a:lnTo>
                  <a:cubicBezTo>
                    <a:pt x="552" y="25767"/>
                    <a:pt x="1104" y="25833"/>
                    <a:pt x="1659" y="25879"/>
                  </a:cubicBezTo>
                  <a:lnTo>
                    <a:pt x="25879" y="1659"/>
                  </a:lnTo>
                  <a:cubicBezTo>
                    <a:pt x="25834" y="1104"/>
                    <a:pt x="25768" y="551"/>
                    <a:pt x="25682" y="1"/>
                  </a:cubicBez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59" name="Google Shape;259;p6"/>
            <p:cNvSpPr/>
            <p:nvPr/>
          </p:nvSpPr>
          <p:spPr>
            <a:xfrm>
              <a:off x="845925" y="2797575"/>
              <a:ext cx="511350" cy="511350"/>
            </a:xfrm>
            <a:custGeom>
              <a:avLst/>
              <a:gdLst/>
              <a:ahLst/>
              <a:cxnLst/>
              <a:rect l="l" t="t" r="r" b="b"/>
              <a:pathLst>
                <a:path w="20454" h="20454" extrusionOk="0">
                  <a:moveTo>
                    <a:pt x="20453" y="1"/>
                  </a:moveTo>
                  <a:lnTo>
                    <a:pt x="1" y="20453"/>
                  </a:lnTo>
                  <a:cubicBezTo>
                    <a:pt x="718" y="20391"/>
                    <a:pt x="1431" y="20297"/>
                    <a:pt x="2142" y="20167"/>
                  </a:cubicBezTo>
                  <a:lnTo>
                    <a:pt x="20165" y="2142"/>
                  </a:lnTo>
                  <a:cubicBezTo>
                    <a:pt x="20295" y="1433"/>
                    <a:pt x="20391" y="720"/>
                    <a:pt x="20453" y="1"/>
                  </a:cubicBez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260" name="Google Shape;260;p6"/>
            <p:cNvSpPr/>
            <p:nvPr/>
          </p:nvSpPr>
          <p:spPr>
            <a:xfrm>
              <a:off x="1037700" y="2989400"/>
              <a:ext cx="267950" cy="267900"/>
            </a:xfrm>
            <a:custGeom>
              <a:avLst/>
              <a:gdLst/>
              <a:ahLst/>
              <a:cxnLst/>
              <a:rect l="l" t="t" r="r" b="b"/>
              <a:pathLst>
                <a:path w="10718" h="10716" extrusionOk="0">
                  <a:moveTo>
                    <a:pt x="10717" y="1"/>
                  </a:moveTo>
                  <a:lnTo>
                    <a:pt x="1" y="10715"/>
                  </a:lnTo>
                  <a:cubicBezTo>
                    <a:pt x="4703" y="8488"/>
                    <a:pt x="8489" y="4703"/>
                    <a:pt x="10717" y="1"/>
                  </a:cubicBez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101587985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Section title and description">
  <p:cSld name="Section title and description">
    <p:spTree>
      <p:nvGrpSpPr>
        <p:cNvPr id="1" name="Shape 36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64" name="Google Shape;364;p9"/>
          <p:cNvSpPr txBox="1">
            <a:spLocks noGrp="1"/>
          </p:cNvSpPr>
          <p:nvPr>
            <p:ph type="title"/>
          </p:nvPr>
        </p:nvSpPr>
        <p:spPr>
          <a:xfrm>
            <a:off x="720000" y="2150850"/>
            <a:ext cx="7704000" cy="8418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600"/>
              <a:buNone/>
              <a:defRPr sz="3600"/>
            </a:lvl9pPr>
          </a:lstStyle>
          <a:p>
            <a:endParaRPr/>
          </a:p>
        </p:txBody>
      </p:sp>
      <p:sp>
        <p:nvSpPr>
          <p:cNvPr id="365" name="Google Shape;365;p9"/>
          <p:cNvSpPr txBox="1">
            <a:spLocks noGrp="1"/>
          </p:cNvSpPr>
          <p:nvPr>
            <p:ph type="title" idx="2" hasCustomPrompt="1"/>
          </p:nvPr>
        </p:nvSpPr>
        <p:spPr>
          <a:xfrm>
            <a:off x="2996550" y="1337825"/>
            <a:ext cx="3150900" cy="841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6000"/>
              <a:buNone/>
              <a:defRPr sz="6000"/>
            </a:lvl9pPr>
          </a:lstStyle>
          <a:p>
            <a:r>
              <a:t>xx%</a:t>
            </a:r>
          </a:p>
        </p:txBody>
      </p:sp>
      <p:sp>
        <p:nvSpPr>
          <p:cNvPr id="366" name="Google Shape;366;p9"/>
          <p:cNvSpPr txBox="1">
            <a:spLocks noGrp="1"/>
          </p:cNvSpPr>
          <p:nvPr>
            <p:ph type="subTitle" idx="1"/>
          </p:nvPr>
        </p:nvSpPr>
        <p:spPr>
          <a:xfrm>
            <a:off x="2391925" y="3132175"/>
            <a:ext cx="4360200" cy="713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/>
            </a:lvl1pPr>
            <a:lvl2pPr lvl="1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SzPts val="16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653379917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lank" type="blank">
  <p:cSld name="Blank">
    <p:bg>
      <p:bgPr>
        <a:noFill/>
        <a:effectLst/>
      </p:bgPr>
    </p:bg>
    <p:spTree>
      <p:nvGrpSpPr>
        <p:cNvPr id="1" name="Shape 412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861710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>
  <p:cSld name="Table of contents">
    <p:spTree>
      <p:nvGrpSpPr>
        <p:cNvPr id="1" name="Shape 4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" name="Google Shape;414;p13"/>
          <p:cNvSpPr/>
          <p:nvPr/>
        </p:nvSpPr>
        <p:spPr>
          <a:xfrm flipH="1">
            <a:off x="7105556" y="3658775"/>
            <a:ext cx="2770200" cy="2770200"/>
          </a:xfrm>
          <a:prstGeom prst="ellipse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5" name="Google Shape;415;p13"/>
          <p:cNvSpPr/>
          <p:nvPr/>
        </p:nvSpPr>
        <p:spPr>
          <a:xfrm flipH="1">
            <a:off x="-1193876" y="-857275"/>
            <a:ext cx="2570400" cy="2570400"/>
          </a:xfrm>
          <a:prstGeom prst="ellipse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16" name="Google Shape;416;p13"/>
          <p:cNvGrpSpPr/>
          <p:nvPr/>
        </p:nvGrpSpPr>
        <p:grpSpPr>
          <a:xfrm rot="-5400000" flipH="1">
            <a:off x="8319073" y="3069215"/>
            <a:ext cx="1124362" cy="1124362"/>
            <a:chOff x="238125" y="2189800"/>
            <a:chExt cx="1119325" cy="1119325"/>
          </a:xfrm>
        </p:grpSpPr>
        <p:sp>
          <p:nvSpPr>
            <p:cNvPr id="417" name="Google Shape;417;p13"/>
            <p:cNvSpPr/>
            <p:nvPr/>
          </p:nvSpPr>
          <p:spPr>
            <a:xfrm>
              <a:off x="289900" y="2241600"/>
              <a:ext cx="267950" cy="267950"/>
            </a:xfrm>
            <a:custGeom>
              <a:avLst/>
              <a:gdLst/>
              <a:ahLst/>
              <a:cxnLst/>
              <a:rect l="l" t="t" r="r" b="b"/>
              <a:pathLst>
                <a:path w="10718" h="10718" extrusionOk="0">
                  <a:moveTo>
                    <a:pt x="10717" y="1"/>
                  </a:moveTo>
                  <a:lnTo>
                    <a:pt x="10717" y="1"/>
                  </a:lnTo>
                  <a:cubicBezTo>
                    <a:pt x="8382" y="1104"/>
                    <a:pt x="6257" y="2604"/>
                    <a:pt x="4431" y="4431"/>
                  </a:cubicBezTo>
                  <a:cubicBezTo>
                    <a:pt x="2604" y="6255"/>
                    <a:pt x="1106" y="8382"/>
                    <a:pt x="1" y="10717"/>
                  </a:cubicBezTo>
                  <a:lnTo>
                    <a:pt x="10717" y="1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" name="Google Shape;418;p13"/>
            <p:cNvSpPr/>
            <p:nvPr/>
          </p:nvSpPr>
          <p:spPr>
            <a:xfrm>
              <a:off x="238275" y="2189975"/>
              <a:ext cx="511350" cy="511375"/>
            </a:xfrm>
            <a:custGeom>
              <a:avLst/>
              <a:gdLst/>
              <a:ahLst/>
              <a:cxnLst/>
              <a:rect l="l" t="t" r="r" b="b"/>
              <a:pathLst>
                <a:path w="20454" h="20455" extrusionOk="0">
                  <a:moveTo>
                    <a:pt x="20453" y="1"/>
                  </a:moveTo>
                  <a:lnTo>
                    <a:pt x="20453" y="1"/>
                  </a:lnTo>
                  <a:cubicBezTo>
                    <a:pt x="19736" y="63"/>
                    <a:pt x="19023" y="158"/>
                    <a:pt x="18312" y="287"/>
                  </a:cubicBezTo>
                  <a:lnTo>
                    <a:pt x="289" y="18312"/>
                  </a:lnTo>
                  <a:cubicBezTo>
                    <a:pt x="159" y="19023"/>
                    <a:pt x="63" y="19736"/>
                    <a:pt x="1" y="20455"/>
                  </a:cubicBezTo>
                  <a:lnTo>
                    <a:pt x="20453" y="1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" name="Google Shape;419;p13"/>
            <p:cNvSpPr/>
            <p:nvPr/>
          </p:nvSpPr>
          <p:spPr>
            <a:xfrm>
              <a:off x="238125" y="2189800"/>
              <a:ext cx="646975" cy="646950"/>
            </a:xfrm>
            <a:custGeom>
              <a:avLst/>
              <a:gdLst/>
              <a:ahLst/>
              <a:cxnLst/>
              <a:rect l="l" t="t" r="r" b="b"/>
              <a:pathLst>
                <a:path w="25879" h="25878" extrusionOk="0">
                  <a:moveTo>
                    <a:pt x="24220" y="1"/>
                  </a:moveTo>
                  <a:lnTo>
                    <a:pt x="0" y="24221"/>
                  </a:lnTo>
                  <a:cubicBezTo>
                    <a:pt x="46" y="24774"/>
                    <a:pt x="111" y="25327"/>
                    <a:pt x="197" y="25877"/>
                  </a:cubicBezTo>
                  <a:lnTo>
                    <a:pt x="25878" y="197"/>
                  </a:lnTo>
                  <a:cubicBezTo>
                    <a:pt x="25328" y="111"/>
                    <a:pt x="24775" y="45"/>
                    <a:pt x="24220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" name="Google Shape;420;p13"/>
            <p:cNvSpPr/>
            <p:nvPr/>
          </p:nvSpPr>
          <p:spPr>
            <a:xfrm>
              <a:off x="260500" y="2212175"/>
              <a:ext cx="735575" cy="735575"/>
            </a:xfrm>
            <a:custGeom>
              <a:avLst/>
              <a:gdLst/>
              <a:ahLst/>
              <a:cxnLst/>
              <a:rect l="l" t="t" r="r" b="b"/>
              <a:pathLst>
                <a:path w="29423" h="29423" extrusionOk="0">
                  <a:moveTo>
                    <a:pt x="28037" y="0"/>
                  </a:moveTo>
                  <a:lnTo>
                    <a:pt x="1" y="28036"/>
                  </a:lnTo>
                  <a:cubicBezTo>
                    <a:pt x="143" y="28502"/>
                    <a:pt x="298" y="28964"/>
                    <a:pt x="470" y="29423"/>
                  </a:cubicBezTo>
                  <a:lnTo>
                    <a:pt x="29422" y="471"/>
                  </a:lnTo>
                  <a:cubicBezTo>
                    <a:pt x="28965" y="299"/>
                    <a:pt x="28503" y="142"/>
                    <a:pt x="28037" y="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" name="Google Shape;421;p13"/>
            <p:cNvSpPr/>
            <p:nvPr/>
          </p:nvSpPr>
          <p:spPr>
            <a:xfrm>
              <a:off x="301425" y="2253075"/>
              <a:ext cx="788775" cy="788825"/>
            </a:xfrm>
            <a:custGeom>
              <a:avLst/>
              <a:gdLst/>
              <a:ahLst/>
              <a:cxnLst/>
              <a:rect l="l" t="t" r="r" b="b"/>
              <a:pathLst>
                <a:path w="31551" h="31553" extrusionOk="0">
                  <a:moveTo>
                    <a:pt x="30370" y="1"/>
                  </a:moveTo>
                  <a:lnTo>
                    <a:pt x="0" y="30371"/>
                  </a:lnTo>
                  <a:cubicBezTo>
                    <a:pt x="211" y="30770"/>
                    <a:pt x="436" y="31164"/>
                    <a:pt x="675" y="31552"/>
                  </a:cubicBezTo>
                  <a:lnTo>
                    <a:pt x="31551" y="675"/>
                  </a:lnTo>
                  <a:cubicBezTo>
                    <a:pt x="31163" y="437"/>
                    <a:pt x="30770" y="213"/>
                    <a:pt x="30370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" name="Google Shape;422;p13"/>
            <p:cNvSpPr/>
            <p:nvPr/>
          </p:nvSpPr>
          <p:spPr>
            <a:xfrm>
              <a:off x="356800" y="2308450"/>
              <a:ext cx="813925" cy="813925"/>
            </a:xfrm>
            <a:custGeom>
              <a:avLst/>
              <a:gdLst/>
              <a:ahLst/>
              <a:cxnLst/>
              <a:rect l="l" t="t" r="r" b="b"/>
              <a:pathLst>
                <a:path w="32557" h="32557" extrusionOk="0">
                  <a:moveTo>
                    <a:pt x="31547" y="1"/>
                  </a:moveTo>
                  <a:lnTo>
                    <a:pt x="0" y="31549"/>
                  </a:lnTo>
                  <a:cubicBezTo>
                    <a:pt x="270" y="31890"/>
                    <a:pt x="552" y="32227"/>
                    <a:pt x="846" y="32556"/>
                  </a:cubicBezTo>
                  <a:lnTo>
                    <a:pt x="32556" y="848"/>
                  </a:lnTo>
                  <a:cubicBezTo>
                    <a:pt x="32226" y="554"/>
                    <a:pt x="31890" y="272"/>
                    <a:pt x="31547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" name="Google Shape;423;p13"/>
            <p:cNvSpPr/>
            <p:nvPr/>
          </p:nvSpPr>
          <p:spPr>
            <a:xfrm>
              <a:off x="424825" y="2376525"/>
              <a:ext cx="813925" cy="813925"/>
            </a:xfrm>
            <a:custGeom>
              <a:avLst/>
              <a:gdLst/>
              <a:ahLst/>
              <a:cxnLst/>
              <a:rect l="l" t="t" r="r" b="b"/>
              <a:pathLst>
                <a:path w="32557" h="32557" extrusionOk="0">
                  <a:moveTo>
                    <a:pt x="31711" y="1"/>
                  </a:moveTo>
                  <a:lnTo>
                    <a:pt x="1" y="31709"/>
                  </a:lnTo>
                  <a:cubicBezTo>
                    <a:pt x="331" y="32003"/>
                    <a:pt x="667" y="32286"/>
                    <a:pt x="1010" y="32556"/>
                  </a:cubicBezTo>
                  <a:lnTo>
                    <a:pt x="32557" y="1010"/>
                  </a:lnTo>
                  <a:cubicBezTo>
                    <a:pt x="32287" y="667"/>
                    <a:pt x="32005" y="330"/>
                    <a:pt x="31711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" name="Google Shape;424;p13"/>
            <p:cNvSpPr/>
            <p:nvPr/>
          </p:nvSpPr>
          <p:spPr>
            <a:xfrm>
              <a:off x="505350" y="2457000"/>
              <a:ext cx="788775" cy="788875"/>
            </a:xfrm>
            <a:custGeom>
              <a:avLst/>
              <a:gdLst/>
              <a:ahLst/>
              <a:cxnLst/>
              <a:rect l="l" t="t" r="r" b="b"/>
              <a:pathLst>
                <a:path w="31551" h="31555" extrusionOk="0">
                  <a:moveTo>
                    <a:pt x="30878" y="1"/>
                  </a:moveTo>
                  <a:lnTo>
                    <a:pt x="0" y="30879"/>
                  </a:lnTo>
                  <a:cubicBezTo>
                    <a:pt x="388" y="31116"/>
                    <a:pt x="782" y="31340"/>
                    <a:pt x="1181" y="31554"/>
                  </a:cubicBezTo>
                  <a:lnTo>
                    <a:pt x="31551" y="1182"/>
                  </a:lnTo>
                  <a:cubicBezTo>
                    <a:pt x="31340" y="783"/>
                    <a:pt x="31116" y="389"/>
                    <a:pt x="30878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" name="Google Shape;425;p13"/>
            <p:cNvSpPr/>
            <p:nvPr/>
          </p:nvSpPr>
          <p:spPr>
            <a:xfrm>
              <a:off x="599500" y="2551175"/>
              <a:ext cx="735550" cy="735550"/>
            </a:xfrm>
            <a:custGeom>
              <a:avLst/>
              <a:gdLst/>
              <a:ahLst/>
              <a:cxnLst/>
              <a:rect l="l" t="t" r="r" b="b"/>
              <a:pathLst>
                <a:path w="29422" h="29422" extrusionOk="0">
                  <a:moveTo>
                    <a:pt x="28952" y="1"/>
                  </a:moveTo>
                  <a:lnTo>
                    <a:pt x="0" y="28953"/>
                  </a:lnTo>
                  <a:cubicBezTo>
                    <a:pt x="457" y="29125"/>
                    <a:pt x="919" y="29282"/>
                    <a:pt x="1385" y="29422"/>
                  </a:cubicBezTo>
                  <a:lnTo>
                    <a:pt x="29421" y="1386"/>
                  </a:lnTo>
                  <a:cubicBezTo>
                    <a:pt x="29281" y="920"/>
                    <a:pt x="29124" y="458"/>
                    <a:pt x="28952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" name="Google Shape;426;p13"/>
            <p:cNvSpPr/>
            <p:nvPr/>
          </p:nvSpPr>
          <p:spPr>
            <a:xfrm>
              <a:off x="710450" y="2662150"/>
              <a:ext cx="647000" cy="646975"/>
            </a:xfrm>
            <a:custGeom>
              <a:avLst/>
              <a:gdLst/>
              <a:ahLst/>
              <a:cxnLst/>
              <a:rect l="l" t="t" r="r" b="b"/>
              <a:pathLst>
                <a:path w="25880" h="25879" extrusionOk="0">
                  <a:moveTo>
                    <a:pt x="25682" y="1"/>
                  </a:moveTo>
                  <a:lnTo>
                    <a:pt x="1" y="25681"/>
                  </a:lnTo>
                  <a:cubicBezTo>
                    <a:pt x="552" y="25767"/>
                    <a:pt x="1104" y="25833"/>
                    <a:pt x="1659" y="25879"/>
                  </a:cubicBezTo>
                  <a:lnTo>
                    <a:pt x="25879" y="1659"/>
                  </a:lnTo>
                  <a:cubicBezTo>
                    <a:pt x="25834" y="1104"/>
                    <a:pt x="25768" y="551"/>
                    <a:pt x="25682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" name="Google Shape;427;p13"/>
            <p:cNvSpPr/>
            <p:nvPr/>
          </p:nvSpPr>
          <p:spPr>
            <a:xfrm>
              <a:off x="845925" y="2797575"/>
              <a:ext cx="511350" cy="511350"/>
            </a:xfrm>
            <a:custGeom>
              <a:avLst/>
              <a:gdLst/>
              <a:ahLst/>
              <a:cxnLst/>
              <a:rect l="l" t="t" r="r" b="b"/>
              <a:pathLst>
                <a:path w="20454" h="20454" extrusionOk="0">
                  <a:moveTo>
                    <a:pt x="20453" y="1"/>
                  </a:moveTo>
                  <a:lnTo>
                    <a:pt x="1" y="20453"/>
                  </a:lnTo>
                  <a:cubicBezTo>
                    <a:pt x="718" y="20391"/>
                    <a:pt x="1431" y="20297"/>
                    <a:pt x="2142" y="20167"/>
                  </a:cubicBezTo>
                  <a:lnTo>
                    <a:pt x="20165" y="2142"/>
                  </a:lnTo>
                  <a:cubicBezTo>
                    <a:pt x="20295" y="1433"/>
                    <a:pt x="20391" y="720"/>
                    <a:pt x="20453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" name="Google Shape;428;p13"/>
            <p:cNvSpPr/>
            <p:nvPr/>
          </p:nvSpPr>
          <p:spPr>
            <a:xfrm>
              <a:off x="1037700" y="2989400"/>
              <a:ext cx="267950" cy="267900"/>
            </a:xfrm>
            <a:custGeom>
              <a:avLst/>
              <a:gdLst/>
              <a:ahLst/>
              <a:cxnLst/>
              <a:rect l="l" t="t" r="r" b="b"/>
              <a:pathLst>
                <a:path w="10718" h="10716" extrusionOk="0">
                  <a:moveTo>
                    <a:pt x="10717" y="1"/>
                  </a:moveTo>
                  <a:lnTo>
                    <a:pt x="1" y="10715"/>
                  </a:lnTo>
                  <a:cubicBezTo>
                    <a:pt x="4703" y="8488"/>
                    <a:pt x="8489" y="4703"/>
                    <a:pt x="10717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29" name="Google Shape;429;p13"/>
          <p:cNvGrpSpPr/>
          <p:nvPr/>
        </p:nvGrpSpPr>
        <p:grpSpPr>
          <a:xfrm flipH="1">
            <a:off x="8618707" y="651369"/>
            <a:ext cx="1153246" cy="1061755"/>
            <a:chOff x="984400" y="3436950"/>
            <a:chExt cx="2214375" cy="2038700"/>
          </a:xfrm>
        </p:grpSpPr>
        <p:sp>
          <p:nvSpPr>
            <p:cNvPr id="430" name="Google Shape;430;p13"/>
            <p:cNvSpPr/>
            <p:nvPr/>
          </p:nvSpPr>
          <p:spPr>
            <a:xfrm>
              <a:off x="984400" y="3436950"/>
              <a:ext cx="1602525" cy="1166400"/>
            </a:xfrm>
            <a:custGeom>
              <a:avLst/>
              <a:gdLst/>
              <a:ahLst/>
              <a:cxnLst/>
              <a:rect l="l" t="t" r="r" b="b"/>
              <a:pathLst>
                <a:path w="64101" h="46656" extrusionOk="0">
                  <a:moveTo>
                    <a:pt x="61659" y="0"/>
                  </a:moveTo>
                  <a:lnTo>
                    <a:pt x="0" y="43166"/>
                  </a:lnTo>
                  <a:lnTo>
                    <a:pt x="2442" y="46655"/>
                  </a:lnTo>
                  <a:lnTo>
                    <a:pt x="64101" y="3489"/>
                  </a:lnTo>
                  <a:lnTo>
                    <a:pt x="61659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" name="Google Shape;431;p13"/>
            <p:cNvSpPr/>
            <p:nvPr/>
          </p:nvSpPr>
          <p:spPr>
            <a:xfrm>
              <a:off x="1106500" y="3611400"/>
              <a:ext cx="1602550" cy="1166400"/>
            </a:xfrm>
            <a:custGeom>
              <a:avLst/>
              <a:gdLst/>
              <a:ahLst/>
              <a:cxnLst/>
              <a:rect l="l" t="t" r="r" b="b"/>
              <a:pathLst>
                <a:path w="64102" h="46656" extrusionOk="0">
                  <a:moveTo>
                    <a:pt x="61659" y="0"/>
                  </a:moveTo>
                  <a:lnTo>
                    <a:pt x="1" y="43167"/>
                  </a:lnTo>
                  <a:lnTo>
                    <a:pt x="2443" y="46656"/>
                  </a:lnTo>
                  <a:lnTo>
                    <a:pt x="64102" y="3490"/>
                  </a:lnTo>
                  <a:lnTo>
                    <a:pt x="61659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" name="Google Shape;432;p13"/>
            <p:cNvSpPr/>
            <p:nvPr/>
          </p:nvSpPr>
          <p:spPr>
            <a:xfrm>
              <a:off x="1228625" y="3785850"/>
              <a:ext cx="1603800" cy="1166425"/>
            </a:xfrm>
            <a:custGeom>
              <a:avLst/>
              <a:gdLst/>
              <a:ahLst/>
              <a:cxnLst/>
              <a:rect l="l" t="t" r="r" b="b"/>
              <a:pathLst>
                <a:path w="64152" h="46657" extrusionOk="0">
                  <a:moveTo>
                    <a:pt x="61709" y="1"/>
                  </a:moveTo>
                  <a:lnTo>
                    <a:pt x="1" y="43167"/>
                  </a:lnTo>
                  <a:lnTo>
                    <a:pt x="2443" y="46656"/>
                  </a:lnTo>
                  <a:lnTo>
                    <a:pt x="64151" y="3490"/>
                  </a:lnTo>
                  <a:lnTo>
                    <a:pt x="61709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" name="Google Shape;433;p13"/>
            <p:cNvSpPr/>
            <p:nvPr/>
          </p:nvSpPr>
          <p:spPr>
            <a:xfrm>
              <a:off x="1350750" y="3960325"/>
              <a:ext cx="1603800" cy="1166400"/>
            </a:xfrm>
            <a:custGeom>
              <a:avLst/>
              <a:gdLst/>
              <a:ahLst/>
              <a:cxnLst/>
              <a:rect l="l" t="t" r="r" b="b"/>
              <a:pathLst>
                <a:path w="64152" h="46656" extrusionOk="0">
                  <a:moveTo>
                    <a:pt x="61709" y="0"/>
                  </a:moveTo>
                  <a:lnTo>
                    <a:pt x="0" y="43166"/>
                  </a:lnTo>
                  <a:lnTo>
                    <a:pt x="2443" y="46655"/>
                  </a:lnTo>
                  <a:lnTo>
                    <a:pt x="64151" y="3489"/>
                  </a:lnTo>
                  <a:lnTo>
                    <a:pt x="61709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" name="Google Shape;434;p13"/>
            <p:cNvSpPr/>
            <p:nvPr/>
          </p:nvSpPr>
          <p:spPr>
            <a:xfrm>
              <a:off x="1472875" y="4134775"/>
              <a:ext cx="1603800" cy="1166400"/>
            </a:xfrm>
            <a:custGeom>
              <a:avLst/>
              <a:gdLst/>
              <a:ahLst/>
              <a:cxnLst/>
              <a:rect l="l" t="t" r="r" b="b"/>
              <a:pathLst>
                <a:path w="64152" h="46656" extrusionOk="0">
                  <a:moveTo>
                    <a:pt x="61709" y="1"/>
                  </a:moveTo>
                  <a:lnTo>
                    <a:pt x="0" y="43167"/>
                  </a:lnTo>
                  <a:lnTo>
                    <a:pt x="2443" y="46656"/>
                  </a:lnTo>
                  <a:lnTo>
                    <a:pt x="64151" y="3490"/>
                  </a:lnTo>
                  <a:lnTo>
                    <a:pt x="61709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" name="Google Shape;435;p13"/>
            <p:cNvSpPr/>
            <p:nvPr/>
          </p:nvSpPr>
          <p:spPr>
            <a:xfrm>
              <a:off x="1595000" y="4310475"/>
              <a:ext cx="1603775" cy="1165175"/>
            </a:xfrm>
            <a:custGeom>
              <a:avLst/>
              <a:gdLst/>
              <a:ahLst/>
              <a:cxnLst/>
              <a:rect l="l" t="t" r="r" b="b"/>
              <a:pathLst>
                <a:path w="64151" h="46607" extrusionOk="0">
                  <a:moveTo>
                    <a:pt x="61709" y="1"/>
                  </a:moveTo>
                  <a:lnTo>
                    <a:pt x="0" y="43117"/>
                  </a:lnTo>
                  <a:lnTo>
                    <a:pt x="2443" y="46606"/>
                  </a:lnTo>
                  <a:lnTo>
                    <a:pt x="64151" y="3490"/>
                  </a:lnTo>
                  <a:lnTo>
                    <a:pt x="61709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36" name="Google Shape;436;p13"/>
          <p:cNvGrpSpPr/>
          <p:nvPr/>
        </p:nvGrpSpPr>
        <p:grpSpPr>
          <a:xfrm rot="-5400000" flipH="1">
            <a:off x="-571186" y="1376523"/>
            <a:ext cx="1106789" cy="1106789"/>
            <a:chOff x="238125" y="2189800"/>
            <a:chExt cx="1119325" cy="1119325"/>
          </a:xfrm>
        </p:grpSpPr>
        <p:sp>
          <p:nvSpPr>
            <p:cNvPr id="437" name="Google Shape;437;p13"/>
            <p:cNvSpPr/>
            <p:nvPr/>
          </p:nvSpPr>
          <p:spPr>
            <a:xfrm>
              <a:off x="289900" y="2241600"/>
              <a:ext cx="267950" cy="267950"/>
            </a:xfrm>
            <a:custGeom>
              <a:avLst/>
              <a:gdLst/>
              <a:ahLst/>
              <a:cxnLst/>
              <a:rect l="l" t="t" r="r" b="b"/>
              <a:pathLst>
                <a:path w="10718" h="10718" extrusionOk="0">
                  <a:moveTo>
                    <a:pt x="10717" y="1"/>
                  </a:moveTo>
                  <a:lnTo>
                    <a:pt x="10717" y="1"/>
                  </a:lnTo>
                  <a:cubicBezTo>
                    <a:pt x="8382" y="1104"/>
                    <a:pt x="6257" y="2604"/>
                    <a:pt x="4431" y="4431"/>
                  </a:cubicBezTo>
                  <a:cubicBezTo>
                    <a:pt x="2604" y="6255"/>
                    <a:pt x="1106" y="8382"/>
                    <a:pt x="1" y="10717"/>
                  </a:cubicBezTo>
                  <a:lnTo>
                    <a:pt x="10717" y="1"/>
                  </a:ln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" name="Google Shape;438;p13"/>
            <p:cNvSpPr/>
            <p:nvPr/>
          </p:nvSpPr>
          <p:spPr>
            <a:xfrm>
              <a:off x="238275" y="2189975"/>
              <a:ext cx="511350" cy="511375"/>
            </a:xfrm>
            <a:custGeom>
              <a:avLst/>
              <a:gdLst/>
              <a:ahLst/>
              <a:cxnLst/>
              <a:rect l="l" t="t" r="r" b="b"/>
              <a:pathLst>
                <a:path w="20454" h="20455" extrusionOk="0">
                  <a:moveTo>
                    <a:pt x="20453" y="1"/>
                  </a:moveTo>
                  <a:lnTo>
                    <a:pt x="20453" y="1"/>
                  </a:lnTo>
                  <a:cubicBezTo>
                    <a:pt x="19736" y="63"/>
                    <a:pt x="19023" y="158"/>
                    <a:pt x="18312" y="287"/>
                  </a:cubicBezTo>
                  <a:lnTo>
                    <a:pt x="289" y="18312"/>
                  </a:lnTo>
                  <a:cubicBezTo>
                    <a:pt x="159" y="19023"/>
                    <a:pt x="63" y="19736"/>
                    <a:pt x="1" y="20455"/>
                  </a:cubicBezTo>
                  <a:lnTo>
                    <a:pt x="20453" y="1"/>
                  </a:ln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" name="Google Shape;439;p13"/>
            <p:cNvSpPr/>
            <p:nvPr/>
          </p:nvSpPr>
          <p:spPr>
            <a:xfrm>
              <a:off x="238125" y="2189800"/>
              <a:ext cx="646975" cy="646950"/>
            </a:xfrm>
            <a:custGeom>
              <a:avLst/>
              <a:gdLst/>
              <a:ahLst/>
              <a:cxnLst/>
              <a:rect l="l" t="t" r="r" b="b"/>
              <a:pathLst>
                <a:path w="25879" h="25878" extrusionOk="0">
                  <a:moveTo>
                    <a:pt x="24220" y="1"/>
                  </a:moveTo>
                  <a:lnTo>
                    <a:pt x="0" y="24221"/>
                  </a:lnTo>
                  <a:cubicBezTo>
                    <a:pt x="46" y="24774"/>
                    <a:pt x="111" y="25327"/>
                    <a:pt x="197" y="25877"/>
                  </a:cubicBezTo>
                  <a:lnTo>
                    <a:pt x="25878" y="197"/>
                  </a:lnTo>
                  <a:cubicBezTo>
                    <a:pt x="25328" y="111"/>
                    <a:pt x="24775" y="45"/>
                    <a:pt x="24220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" name="Google Shape;440;p13"/>
            <p:cNvSpPr/>
            <p:nvPr/>
          </p:nvSpPr>
          <p:spPr>
            <a:xfrm>
              <a:off x="260500" y="2212175"/>
              <a:ext cx="735575" cy="735575"/>
            </a:xfrm>
            <a:custGeom>
              <a:avLst/>
              <a:gdLst/>
              <a:ahLst/>
              <a:cxnLst/>
              <a:rect l="l" t="t" r="r" b="b"/>
              <a:pathLst>
                <a:path w="29423" h="29423" extrusionOk="0">
                  <a:moveTo>
                    <a:pt x="28037" y="0"/>
                  </a:moveTo>
                  <a:lnTo>
                    <a:pt x="1" y="28036"/>
                  </a:lnTo>
                  <a:cubicBezTo>
                    <a:pt x="143" y="28502"/>
                    <a:pt x="298" y="28964"/>
                    <a:pt x="470" y="29423"/>
                  </a:cubicBezTo>
                  <a:lnTo>
                    <a:pt x="29422" y="471"/>
                  </a:lnTo>
                  <a:cubicBezTo>
                    <a:pt x="28965" y="299"/>
                    <a:pt x="28503" y="142"/>
                    <a:pt x="28037" y="0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" name="Google Shape;441;p13"/>
            <p:cNvSpPr/>
            <p:nvPr/>
          </p:nvSpPr>
          <p:spPr>
            <a:xfrm>
              <a:off x="301425" y="2253075"/>
              <a:ext cx="788775" cy="788825"/>
            </a:xfrm>
            <a:custGeom>
              <a:avLst/>
              <a:gdLst/>
              <a:ahLst/>
              <a:cxnLst/>
              <a:rect l="l" t="t" r="r" b="b"/>
              <a:pathLst>
                <a:path w="31551" h="31553" extrusionOk="0">
                  <a:moveTo>
                    <a:pt x="30370" y="1"/>
                  </a:moveTo>
                  <a:lnTo>
                    <a:pt x="0" y="30371"/>
                  </a:lnTo>
                  <a:cubicBezTo>
                    <a:pt x="211" y="30770"/>
                    <a:pt x="436" y="31164"/>
                    <a:pt x="675" y="31552"/>
                  </a:cubicBezTo>
                  <a:lnTo>
                    <a:pt x="31551" y="675"/>
                  </a:lnTo>
                  <a:cubicBezTo>
                    <a:pt x="31163" y="437"/>
                    <a:pt x="30770" y="213"/>
                    <a:pt x="30370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" name="Google Shape;442;p13"/>
            <p:cNvSpPr/>
            <p:nvPr/>
          </p:nvSpPr>
          <p:spPr>
            <a:xfrm>
              <a:off x="356800" y="2308450"/>
              <a:ext cx="813925" cy="813925"/>
            </a:xfrm>
            <a:custGeom>
              <a:avLst/>
              <a:gdLst/>
              <a:ahLst/>
              <a:cxnLst/>
              <a:rect l="l" t="t" r="r" b="b"/>
              <a:pathLst>
                <a:path w="32557" h="32557" extrusionOk="0">
                  <a:moveTo>
                    <a:pt x="31547" y="1"/>
                  </a:moveTo>
                  <a:lnTo>
                    <a:pt x="0" y="31549"/>
                  </a:lnTo>
                  <a:cubicBezTo>
                    <a:pt x="270" y="31890"/>
                    <a:pt x="552" y="32227"/>
                    <a:pt x="846" y="32556"/>
                  </a:cubicBezTo>
                  <a:lnTo>
                    <a:pt x="32556" y="848"/>
                  </a:lnTo>
                  <a:cubicBezTo>
                    <a:pt x="32226" y="554"/>
                    <a:pt x="31890" y="272"/>
                    <a:pt x="31547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" name="Google Shape;443;p13"/>
            <p:cNvSpPr/>
            <p:nvPr/>
          </p:nvSpPr>
          <p:spPr>
            <a:xfrm>
              <a:off x="424825" y="2376525"/>
              <a:ext cx="813925" cy="813925"/>
            </a:xfrm>
            <a:custGeom>
              <a:avLst/>
              <a:gdLst/>
              <a:ahLst/>
              <a:cxnLst/>
              <a:rect l="l" t="t" r="r" b="b"/>
              <a:pathLst>
                <a:path w="32557" h="32557" extrusionOk="0">
                  <a:moveTo>
                    <a:pt x="31711" y="1"/>
                  </a:moveTo>
                  <a:lnTo>
                    <a:pt x="1" y="31709"/>
                  </a:lnTo>
                  <a:cubicBezTo>
                    <a:pt x="331" y="32003"/>
                    <a:pt x="667" y="32286"/>
                    <a:pt x="1010" y="32556"/>
                  </a:cubicBezTo>
                  <a:lnTo>
                    <a:pt x="32557" y="1010"/>
                  </a:lnTo>
                  <a:cubicBezTo>
                    <a:pt x="32287" y="667"/>
                    <a:pt x="32005" y="330"/>
                    <a:pt x="31711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" name="Google Shape;444;p13"/>
            <p:cNvSpPr/>
            <p:nvPr/>
          </p:nvSpPr>
          <p:spPr>
            <a:xfrm>
              <a:off x="505350" y="2457000"/>
              <a:ext cx="788775" cy="788875"/>
            </a:xfrm>
            <a:custGeom>
              <a:avLst/>
              <a:gdLst/>
              <a:ahLst/>
              <a:cxnLst/>
              <a:rect l="l" t="t" r="r" b="b"/>
              <a:pathLst>
                <a:path w="31551" h="31555" extrusionOk="0">
                  <a:moveTo>
                    <a:pt x="30878" y="1"/>
                  </a:moveTo>
                  <a:lnTo>
                    <a:pt x="0" y="30879"/>
                  </a:lnTo>
                  <a:cubicBezTo>
                    <a:pt x="388" y="31116"/>
                    <a:pt x="782" y="31340"/>
                    <a:pt x="1181" y="31554"/>
                  </a:cubicBezTo>
                  <a:lnTo>
                    <a:pt x="31551" y="1182"/>
                  </a:lnTo>
                  <a:cubicBezTo>
                    <a:pt x="31340" y="783"/>
                    <a:pt x="31116" y="389"/>
                    <a:pt x="30878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" name="Google Shape;445;p13"/>
            <p:cNvSpPr/>
            <p:nvPr/>
          </p:nvSpPr>
          <p:spPr>
            <a:xfrm>
              <a:off x="599500" y="2551175"/>
              <a:ext cx="735550" cy="735550"/>
            </a:xfrm>
            <a:custGeom>
              <a:avLst/>
              <a:gdLst/>
              <a:ahLst/>
              <a:cxnLst/>
              <a:rect l="l" t="t" r="r" b="b"/>
              <a:pathLst>
                <a:path w="29422" h="29422" extrusionOk="0">
                  <a:moveTo>
                    <a:pt x="28952" y="1"/>
                  </a:moveTo>
                  <a:lnTo>
                    <a:pt x="0" y="28953"/>
                  </a:lnTo>
                  <a:cubicBezTo>
                    <a:pt x="457" y="29125"/>
                    <a:pt x="919" y="29282"/>
                    <a:pt x="1385" y="29422"/>
                  </a:cubicBezTo>
                  <a:lnTo>
                    <a:pt x="29421" y="1386"/>
                  </a:lnTo>
                  <a:cubicBezTo>
                    <a:pt x="29281" y="920"/>
                    <a:pt x="29124" y="458"/>
                    <a:pt x="28952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" name="Google Shape;446;p13"/>
            <p:cNvSpPr/>
            <p:nvPr/>
          </p:nvSpPr>
          <p:spPr>
            <a:xfrm>
              <a:off x="710450" y="2662150"/>
              <a:ext cx="647000" cy="646975"/>
            </a:xfrm>
            <a:custGeom>
              <a:avLst/>
              <a:gdLst/>
              <a:ahLst/>
              <a:cxnLst/>
              <a:rect l="l" t="t" r="r" b="b"/>
              <a:pathLst>
                <a:path w="25880" h="25879" extrusionOk="0">
                  <a:moveTo>
                    <a:pt x="25682" y="1"/>
                  </a:moveTo>
                  <a:lnTo>
                    <a:pt x="1" y="25681"/>
                  </a:lnTo>
                  <a:cubicBezTo>
                    <a:pt x="552" y="25767"/>
                    <a:pt x="1104" y="25833"/>
                    <a:pt x="1659" y="25879"/>
                  </a:cubicBezTo>
                  <a:lnTo>
                    <a:pt x="25879" y="1659"/>
                  </a:lnTo>
                  <a:cubicBezTo>
                    <a:pt x="25834" y="1104"/>
                    <a:pt x="25768" y="551"/>
                    <a:pt x="25682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" name="Google Shape;447;p13"/>
            <p:cNvSpPr/>
            <p:nvPr/>
          </p:nvSpPr>
          <p:spPr>
            <a:xfrm>
              <a:off x="845925" y="2797575"/>
              <a:ext cx="511350" cy="511350"/>
            </a:xfrm>
            <a:custGeom>
              <a:avLst/>
              <a:gdLst/>
              <a:ahLst/>
              <a:cxnLst/>
              <a:rect l="l" t="t" r="r" b="b"/>
              <a:pathLst>
                <a:path w="20454" h="20454" extrusionOk="0">
                  <a:moveTo>
                    <a:pt x="20453" y="1"/>
                  </a:moveTo>
                  <a:lnTo>
                    <a:pt x="1" y="20453"/>
                  </a:lnTo>
                  <a:cubicBezTo>
                    <a:pt x="718" y="20391"/>
                    <a:pt x="1431" y="20297"/>
                    <a:pt x="2142" y="20167"/>
                  </a:cubicBezTo>
                  <a:lnTo>
                    <a:pt x="20165" y="2142"/>
                  </a:lnTo>
                  <a:cubicBezTo>
                    <a:pt x="20295" y="1433"/>
                    <a:pt x="20391" y="720"/>
                    <a:pt x="20453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" name="Google Shape;448;p13"/>
            <p:cNvSpPr/>
            <p:nvPr/>
          </p:nvSpPr>
          <p:spPr>
            <a:xfrm>
              <a:off x="1037700" y="2989400"/>
              <a:ext cx="267950" cy="267900"/>
            </a:xfrm>
            <a:custGeom>
              <a:avLst/>
              <a:gdLst/>
              <a:ahLst/>
              <a:cxnLst/>
              <a:rect l="l" t="t" r="r" b="b"/>
              <a:pathLst>
                <a:path w="10718" h="10716" extrusionOk="0">
                  <a:moveTo>
                    <a:pt x="10717" y="1"/>
                  </a:moveTo>
                  <a:lnTo>
                    <a:pt x="1" y="10715"/>
                  </a:lnTo>
                  <a:cubicBezTo>
                    <a:pt x="4703" y="8488"/>
                    <a:pt x="8489" y="4703"/>
                    <a:pt x="10717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49" name="Google Shape;449;p13"/>
          <p:cNvGrpSpPr/>
          <p:nvPr/>
        </p:nvGrpSpPr>
        <p:grpSpPr>
          <a:xfrm flipH="1">
            <a:off x="1130514" y="3921391"/>
            <a:ext cx="368918" cy="368135"/>
            <a:chOff x="3510300" y="2634425"/>
            <a:chExt cx="576975" cy="575750"/>
          </a:xfrm>
        </p:grpSpPr>
        <p:sp>
          <p:nvSpPr>
            <p:cNvPr id="450" name="Google Shape;450;p13"/>
            <p:cNvSpPr/>
            <p:nvPr/>
          </p:nvSpPr>
          <p:spPr>
            <a:xfrm>
              <a:off x="3743325" y="2634425"/>
              <a:ext cx="110925" cy="575750"/>
            </a:xfrm>
            <a:custGeom>
              <a:avLst/>
              <a:gdLst/>
              <a:ahLst/>
              <a:cxnLst/>
              <a:rect l="l" t="t" r="r" b="b"/>
              <a:pathLst>
                <a:path w="4437" h="23030" extrusionOk="0">
                  <a:moveTo>
                    <a:pt x="2193" y="1"/>
                  </a:moveTo>
                  <a:cubicBezTo>
                    <a:pt x="997" y="1"/>
                    <a:pt x="0" y="998"/>
                    <a:pt x="0" y="2194"/>
                  </a:cubicBezTo>
                  <a:lnTo>
                    <a:pt x="0" y="20786"/>
                  </a:lnTo>
                  <a:cubicBezTo>
                    <a:pt x="0" y="22032"/>
                    <a:pt x="997" y="23029"/>
                    <a:pt x="2193" y="23029"/>
                  </a:cubicBezTo>
                  <a:cubicBezTo>
                    <a:pt x="3440" y="23029"/>
                    <a:pt x="4437" y="22032"/>
                    <a:pt x="4437" y="20786"/>
                  </a:cubicBezTo>
                  <a:lnTo>
                    <a:pt x="4437" y="2194"/>
                  </a:lnTo>
                  <a:cubicBezTo>
                    <a:pt x="4437" y="998"/>
                    <a:pt x="3440" y="1"/>
                    <a:pt x="2193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" name="Google Shape;451;p13"/>
            <p:cNvSpPr/>
            <p:nvPr/>
          </p:nvSpPr>
          <p:spPr>
            <a:xfrm>
              <a:off x="3510300" y="2866200"/>
              <a:ext cx="576975" cy="112175"/>
            </a:xfrm>
            <a:custGeom>
              <a:avLst/>
              <a:gdLst/>
              <a:ahLst/>
              <a:cxnLst/>
              <a:rect l="l" t="t" r="r" b="b"/>
              <a:pathLst>
                <a:path w="23079" h="4487" extrusionOk="0">
                  <a:moveTo>
                    <a:pt x="2243" y="1"/>
                  </a:moveTo>
                  <a:cubicBezTo>
                    <a:pt x="997" y="1"/>
                    <a:pt x="0" y="998"/>
                    <a:pt x="0" y="2244"/>
                  </a:cubicBezTo>
                  <a:cubicBezTo>
                    <a:pt x="0" y="3440"/>
                    <a:pt x="997" y="4437"/>
                    <a:pt x="2243" y="4487"/>
                  </a:cubicBezTo>
                  <a:lnTo>
                    <a:pt x="20836" y="4487"/>
                  </a:lnTo>
                  <a:cubicBezTo>
                    <a:pt x="22082" y="4437"/>
                    <a:pt x="23079" y="3440"/>
                    <a:pt x="23079" y="2244"/>
                  </a:cubicBezTo>
                  <a:cubicBezTo>
                    <a:pt x="23029" y="998"/>
                    <a:pt x="22032" y="1"/>
                    <a:pt x="20836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52" name="Google Shape;452;p13"/>
          <p:cNvGrpSpPr/>
          <p:nvPr/>
        </p:nvGrpSpPr>
        <p:grpSpPr>
          <a:xfrm flipH="1">
            <a:off x="720156" y="4194940"/>
            <a:ext cx="254677" cy="254136"/>
            <a:chOff x="3510300" y="2634425"/>
            <a:chExt cx="576975" cy="575750"/>
          </a:xfrm>
        </p:grpSpPr>
        <p:sp>
          <p:nvSpPr>
            <p:cNvPr id="453" name="Google Shape;453;p13"/>
            <p:cNvSpPr/>
            <p:nvPr/>
          </p:nvSpPr>
          <p:spPr>
            <a:xfrm>
              <a:off x="3743325" y="2634425"/>
              <a:ext cx="110925" cy="575750"/>
            </a:xfrm>
            <a:custGeom>
              <a:avLst/>
              <a:gdLst/>
              <a:ahLst/>
              <a:cxnLst/>
              <a:rect l="l" t="t" r="r" b="b"/>
              <a:pathLst>
                <a:path w="4437" h="23030" extrusionOk="0">
                  <a:moveTo>
                    <a:pt x="2193" y="1"/>
                  </a:moveTo>
                  <a:cubicBezTo>
                    <a:pt x="997" y="1"/>
                    <a:pt x="0" y="998"/>
                    <a:pt x="0" y="2194"/>
                  </a:cubicBezTo>
                  <a:lnTo>
                    <a:pt x="0" y="20786"/>
                  </a:lnTo>
                  <a:cubicBezTo>
                    <a:pt x="0" y="22032"/>
                    <a:pt x="997" y="23029"/>
                    <a:pt x="2193" y="23029"/>
                  </a:cubicBezTo>
                  <a:cubicBezTo>
                    <a:pt x="3440" y="23029"/>
                    <a:pt x="4437" y="22032"/>
                    <a:pt x="4437" y="20786"/>
                  </a:cubicBezTo>
                  <a:lnTo>
                    <a:pt x="4437" y="2194"/>
                  </a:lnTo>
                  <a:cubicBezTo>
                    <a:pt x="4437" y="998"/>
                    <a:pt x="3440" y="1"/>
                    <a:pt x="2193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" name="Google Shape;454;p13"/>
            <p:cNvSpPr/>
            <p:nvPr/>
          </p:nvSpPr>
          <p:spPr>
            <a:xfrm>
              <a:off x="3510300" y="2866200"/>
              <a:ext cx="576975" cy="112175"/>
            </a:xfrm>
            <a:custGeom>
              <a:avLst/>
              <a:gdLst/>
              <a:ahLst/>
              <a:cxnLst/>
              <a:rect l="l" t="t" r="r" b="b"/>
              <a:pathLst>
                <a:path w="23079" h="4487" extrusionOk="0">
                  <a:moveTo>
                    <a:pt x="2243" y="1"/>
                  </a:moveTo>
                  <a:cubicBezTo>
                    <a:pt x="997" y="1"/>
                    <a:pt x="0" y="998"/>
                    <a:pt x="0" y="2244"/>
                  </a:cubicBezTo>
                  <a:cubicBezTo>
                    <a:pt x="0" y="3440"/>
                    <a:pt x="997" y="4437"/>
                    <a:pt x="2243" y="4487"/>
                  </a:cubicBezTo>
                  <a:lnTo>
                    <a:pt x="20836" y="4487"/>
                  </a:lnTo>
                  <a:cubicBezTo>
                    <a:pt x="22082" y="4437"/>
                    <a:pt x="23079" y="3440"/>
                    <a:pt x="23079" y="2244"/>
                  </a:cubicBezTo>
                  <a:cubicBezTo>
                    <a:pt x="23029" y="998"/>
                    <a:pt x="22032" y="1"/>
                    <a:pt x="20836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55" name="Google Shape;455;p13"/>
          <p:cNvSpPr txBox="1">
            <a:spLocks noGrp="1"/>
          </p:cNvSpPr>
          <p:nvPr>
            <p:ph type="title"/>
          </p:nvPr>
        </p:nvSpPr>
        <p:spPr>
          <a:xfrm>
            <a:off x="669725" y="1664250"/>
            <a:ext cx="24171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800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456" name="Google Shape;456;p13"/>
          <p:cNvSpPr txBox="1">
            <a:spLocks noGrp="1"/>
          </p:cNvSpPr>
          <p:nvPr>
            <p:ph type="title" idx="2" hasCustomPrompt="1"/>
          </p:nvPr>
        </p:nvSpPr>
        <p:spPr>
          <a:xfrm>
            <a:off x="666750" y="1299675"/>
            <a:ext cx="2417100" cy="593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9pPr>
          </a:lstStyle>
          <a:p>
            <a:r>
              <a:t>xx%</a:t>
            </a:r>
          </a:p>
        </p:txBody>
      </p:sp>
      <p:sp>
        <p:nvSpPr>
          <p:cNvPr id="457" name="Google Shape;457;p13"/>
          <p:cNvSpPr txBox="1">
            <a:spLocks noGrp="1"/>
          </p:cNvSpPr>
          <p:nvPr>
            <p:ph type="subTitle" idx="1"/>
          </p:nvPr>
        </p:nvSpPr>
        <p:spPr>
          <a:xfrm>
            <a:off x="670500" y="2024500"/>
            <a:ext cx="2417100" cy="748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SzPts val="1600"/>
              <a:buNone/>
              <a:defRPr/>
            </a:lvl9pPr>
          </a:lstStyle>
          <a:p>
            <a:endParaRPr/>
          </a:p>
        </p:txBody>
      </p:sp>
      <p:sp>
        <p:nvSpPr>
          <p:cNvPr id="458" name="Google Shape;458;p13"/>
          <p:cNvSpPr txBox="1">
            <a:spLocks noGrp="1"/>
          </p:cNvSpPr>
          <p:nvPr>
            <p:ph type="title" idx="3"/>
          </p:nvPr>
        </p:nvSpPr>
        <p:spPr>
          <a:xfrm>
            <a:off x="3352275" y="1663750"/>
            <a:ext cx="24171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800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459" name="Google Shape;459;p13"/>
          <p:cNvSpPr txBox="1">
            <a:spLocks noGrp="1"/>
          </p:cNvSpPr>
          <p:nvPr>
            <p:ph type="title" idx="4" hasCustomPrompt="1"/>
          </p:nvPr>
        </p:nvSpPr>
        <p:spPr>
          <a:xfrm>
            <a:off x="3352200" y="1299175"/>
            <a:ext cx="2417100" cy="593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>
                <a:solidFill>
                  <a:schemeClr val="accent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9pPr>
          </a:lstStyle>
          <a:p>
            <a:r>
              <a:t>xx%</a:t>
            </a:r>
          </a:p>
        </p:txBody>
      </p:sp>
      <p:sp>
        <p:nvSpPr>
          <p:cNvPr id="460" name="Google Shape;460;p13"/>
          <p:cNvSpPr txBox="1">
            <a:spLocks noGrp="1"/>
          </p:cNvSpPr>
          <p:nvPr>
            <p:ph type="subTitle" idx="5"/>
          </p:nvPr>
        </p:nvSpPr>
        <p:spPr>
          <a:xfrm>
            <a:off x="3365250" y="2024000"/>
            <a:ext cx="2417100" cy="748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2pPr>
            <a:lvl3pPr lvl="2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3pPr>
            <a:lvl4pPr lvl="3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4pPr>
            <a:lvl5pPr lvl="4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5pPr>
            <a:lvl6pPr lvl="5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6pPr>
            <a:lvl7pPr lvl="6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7pPr>
            <a:lvl8pPr lvl="7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8pPr>
            <a:lvl9pPr lvl="8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SzPts val="1600"/>
              <a:buNone/>
              <a:defRPr/>
            </a:lvl9pPr>
          </a:lstStyle>
          <a:p>
            <a:endParaRPr/>
          </a:p>
        </p:txBody>
      </p:sp>
      <p:sp>
        <p:nvSpPr>
          <p:cNvPr id="461" name="Google Shape;461;p13"/>
          <p:cNvSpPr txBox="1">
            <a:spLocks noGrp="1"/>
          </p:cNvSpPr>
          <p:nvPr>
            <p:ph type="title" idx="6"/>
          </p:nvPr>
        </p:nvSpPr>
        <p:spPr>
          <a:xfrm>
            <a:off x="6032800" y="1664250"/>
            <a:ext cx="24171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800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462" name="Google Shape;462;p13"/>
          <p:cNvSpPr txBox="1">
            <a:spLocks noGrp="1"/>
          </p:cNvSpPr>
          <p:nvPr>
            <p:ph type="title" idx="7" hasCustomPrompt="1"/>
          </p:nvPr>
        </p:nvSpPr>
        <p:spPr>
          <a:xfrm>
            <a:off x="6033900" y="1299675"/>
            <a:ext cx="2417100" cy="593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>
                <a:solidFill>
                  <a:schemeClr val="lt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9pPr>
          </a:lstStyle>
          <a:p>
            <a:r>
              <a:t>xx%</a:t>
            </a:r>
          </a:p>
        </p:txBody>
      </p:sp>
      <p:sp>
        <p:nvSpPr>
          <p:cNvPr id="463" name="Google Shape;463;p13"/>
          <p:cNvSpPr txBox="1">
            <a:spLocks noGrp="1"/>
          </p:cNvSpPr>
          <p:nvPr>
            <p:ph type="subTitle" idx="8"/>
          </p:nvPr>
        </p:nvSpPr>
        <p:spPr>
          <a:xfrm>
            <a:off x="6033900" y="2024500"/>
            <a:ext cx="2417100" cy="748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2pPr>
            <a:lvl3pPr lvl="2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3pPr>
            <a:lvl4pPr lvl="3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4pPr>
            <a:lvl5pPr lvl="4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5pPr>
            <a:lvl6pPr lvl="5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6pPr>
            <a:lvl7pPr lvl="6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7pPr>
            <a:lvl8pPr lvl="7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8pPr>
            <a:lvl9pPr lvl="8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SzPts val="1600"/>
              <a:buNone/>
              <a:defRPr/>
            </a:lvl9pPr>
          </a:lstStyle>
          <a:p>
            <a:endParaRPr/>
          </a:p>
        </p:txBody>
      </p:sp>
      <p:sp>
        <p:nvSpPr>
          <p:cNvPr id="464" name="Google Shape;464;p13"/>
          <p:cNvSpPr txBox="1">
            <a:spLocks noGrp="1"/>
          </p:cNvSpPr>
          <p:nvPr>
            <p:ph type="title" idx="9"/>
          </p:nvPr>
        </p:nvSpPr>
        <p:spPr>
          <a:xfrm>
            <a:off x="2015550" y="3530450"/>
            <a:ext cx="24171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8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465" name="Google Shape;465;p13"/>
          <p:cNvSpPr txBox="1">
            <a:spLocks noGrp="1"/>
          </p:cNvSpPr>
          <p:nvPr>
            <p:ph type="title" idx="13" hasCustomPrompt="1"/>
          </p:nvPr>
        </p:nvSpPr>
        <p:spPr>
          <a:xfrm>
            <a:off x="2011950" y="3165875"/>
            <a:ext cx="2417100" cy="593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9pPr>
          </a:lstStyle>
          <a:p>
            <a:r>
              <a:t>xx%</a:t>
            </a:r>
          </a:p>
        </p:txBody>
      </p:sp>
      <p:sp>
        <p:nvSpPr>
          <p:cNvPr id="466" name="Google Shape;466;p13"/>
          <p:cNvSpPr txBox="1">
            <a:spLocks noGrp="1"/>
          </p:cNvSpPr>
          <p:nvPr>
            <p:ph type="subTitle" idx="14"/>
          </p:nvPr>
        </p:nvSpPr>
        <p:spPr>
          <a:xfrm>
            <a:off x="2012400" y="3890700"/>
            <a:ext cx="2417100" cy="748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SzPts val="1600"/>
              <a:buNone/>
              <a:defRPr/>
            </a:lvl9pPr>
          </a:lstStyle>
          <a:p>
            <a:endParaRPr/>
          </a:p>
        </p:txBody>
      </p:sp>
      <p:sp>
        <p:nvSpPr>
          <p:cNvPr id="467" name="Google Shape;467;p13"/>
          <p:cNvSpPr txBox="1">
            <a:spLocks noGrp="1"/>
          </p:cNvSpPr>
          <p:nvPr>
            <p:ph type="title" idx="15"/>
          </p:nvPr>
        </p:nvSpPr>
        <p:spPr>
          <a:xfrm>
            <a:off x="4706975" y="3530450"/>
            <a:ext cx="24171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800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468" name="Google Shape;468;p13"/>
          <p:cNvSpPr txBox="1">
            <a:spLocks noGrp="1"/>
          </p:cNvSpPr>
          <p:nvPr>
            <p:ph type="title" idx="16" hasCustomPrompt="1"/>
          </p:nvPr>
        </p:nvSpPr>
        <p:spPr>
          <a:xfrm>
            <a:off x="4706975" y="3165875"/>
            <a:ext cx="2417100" cy="593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>
                <a:solidFill>
                  <a:schemeClr val="lt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9pPr>
          </a:lstStyle>
          <a:p>
            <a:r>
              <a:t>xx%</a:t>
            </a:r>
          </a:p>
        </p:txBody>
      </p:sp>
      <p:sp>
        <p:nvSpPr>
          <p:cNvPr id="469" name="Google Shape;469;p13"/>
          <p:cNvSpPr txBox="1">
            <a:spLocks noGrp="1"/>
          </p:cNvSpPr>
          <p:nvPr>
            <p:ph type="subTitle" idx="17"/>
          </p:nvPr>
        </p:nvSpPr>
        <p:spPr>
          <a:xfrm>
            <a:off x="4707425" y="3890700"/>
            <a:ext cx="2417100" cy="748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2pPr>
            <a:lvl3pPr lvl="2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3pPr>
            <a:lvl4pPr lvl="3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4pPr>
            <a:lvl5pPr lvl="4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5pPr>
            <a:lvl6pPr lvl="5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6pPr>
            <a:lvl7pPr lvl="6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7pPr>
            <a:lvl8pPr lvl="7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8pPr>
            <a:lvl9pPr lvl="8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SzPts val="1600"/>
              <a:buNone/>
              <a:defRPr/>
            </a:lvl9pPr>
          </a:lstStyle>
          <a:p>
            <a:endParaRPr/>
          </a:p>
        </p:txBody>
      </p:sp>
      <p:sp>
        <p:nvSpPr>
          <p:cNvPr id="470" name="Google Shape;470;p13"/>
          <p:cNvSpPr txBox="1">
            <a:spLocks noGrp="1"/>
          </p:cNvSpPr>
          <p:nvPr>
            <p:ph type="title" idx="18"/>
          </p:nvPr>
        </p:nvSpPr>
        <p:spPr>
          <a:xfrm>
            <a:off x="720000" y="445025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817872801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hree columns">
  <p:cSld name="BLANK_1_1">
    <p:bg>
      <p:bgPr>
        <a:solidFill>
          <a:schemeClr val="dk2"/>
        </a:solidFill>
        <a:effectLst/>
      </p:bgPr>
    </p:bg>
    <p:spTree>
      <p:nvGrpSpPr>
        <p:cNvPr id="1" name="Shape 8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0" name="Google Shape;90;p15"/>
          <p:cNvSpPr/>
          <p:nvPr/>
        </p:nvSpPr>
        <p:spPr>
          <a:xfrm rot="6513633" flipH="1">
            <a:off x="-5610938" y="-5002625"/>
            <a:ext cx="9953609" cy="9953609"/>
          </a:xfrm>
          <a:prstGeom prst="blockArc">
            <a:avLst>
              <a:gd name="adj1" fmla="val 10532336"/>
              <a:gd name="adj2" fmla="val 17298376"/>
              <a:gd name="adj3" fmla="val 14103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1" name="Google Shape;91;p15"/>
          <p:cNvSpPr/>
          <p:nvPr/>
        </p:nvSpPr>
        <p:spPr>
          <a:xfrm>
            <a:off x="7433900" y="952775"/>
            <a:ext cx="2223300" cy="2223300"/>
          </a:xfrm>
          <a:prstGeom prst="ellipse">
            <a:avLst/>
          </a:prstGeom>
          <a:solidFill>
            <a:srgbClr val="E09B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2" name="Google Shape;92;p15"/>
          <p:cNvSpPr/>
          <p:nvPr/>
        </p:nvSpPr>
        <p:spPr>
          <a:xfrm>
            <a:off x="4946175" y="2702500"/>
            <a:ext cx="577800" cy="577800"/>
          </a:xfrm>
          <a:prstGeom prst="donut">
            <a:avLst>
              <a:gd name="adj" fmla="val 12928"/>
            </a:avLst>
          </a:prstGeom>
          <a:solidFill>
            <a:schemeClr val="lt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3" name="Google Shape;93;p15"/>
          <p:cNvSpPr/>
          <p:nvPr/>
        </p:nvSpPr>
        <p:spPr>
          <a:xfrm>
            <a:off x="877000" y="2278100"/>
            <a:ext cx="506400" cy="506400"/>
          </a:xfrm>
          <a:prstGeom prst="ellipse">
            <a:avLst/>
          </a:prstGeom>
          <a:solidFill>
            <a:srgbClr val="E09B00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94" name="Google Shape;94;p15"/>
          <p:cNvSpPr txBox="1">
            <a:spLocks noGrp="1"/>
          </p:cNvSpPr>
          <p:nvPr>
            <p:ph type="ctrTitle"/>
          </p:nvPr>
        </p:nvSpPr>
        <p:spPr>
          <a:xfrm flipH="1">
            <a:off x="719555" y="972745"/>
            <a:ext cx="20484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95" name="Google Shape;95;p15"/>
          <p:cNvSpPr txBox="1">
            <a:spLocks noGrp="1"/>
          </p:cNvSpPr>
          <p:nvPr>
            <p:ph type="subTitle" idx="1"/>
          </p:nvPr>
        </p:nvSpPr>
        <p:spPr>
          <a:xfrm flipH="1">
            <a:off x="803955" y="3741050"/>
            <a:ext cx="2048400" cy="852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96" name="Google Shape;96;p15"/>
          <p:cNvSpPr txBox="1">
            <a:spLocks noGrp="1"/>
          </p:cNvSpPr>
          <p:nvPr>
            <p:ph type="ctrTitle" idx="2"/>
          </p:nvPr>
        </p:nvSpPr>
        <p:spPr>
          <a:xfrm flipH="1">
            <a:off x="3547753" y="972745"/>
            <a:ext cx="20484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97" name="Google Shape;97;p15"/>
          <p:cNvSpPr txBox="1">
            <a:spLocks noGrp="1"/>
          </p:cNvSpPr>
          <p:nvPr>
            <p:ph type="subTitle" idx="3"/>
          </p:nvPr>
        </p:nvSpPr>
        <p:spPr>
          <a:xfrm flipH="1">
            <a:off x="3547753" y="3741050"/>
            <a:ext cx="2048400" cy="852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98" name="Google Shape;98;p15"/>
          <p:cNvSpPr txBox="1">
            <a:spLocks noGrp="1"/>
          </p:cNvSpPr>
          <p:nvPr>
            <p:ph type="ctrTitle" idx="4"/>
          </p:nvPr>
        </p:nvSpPr>
        <p:spPr>
          <a:xfrm flipH="1">
            <a:off x="6375938" y="972745"/>
            <a:ext cx="204840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99" name="Google Shape;99;p15"/>
          <p:cNvSpPr txBox="1">
            <a:spLocks noGrp="1"/>
          </p:cNvSpPr>
          <p:nvPr>
            <p:ph type="subTitle" idx="5"/>
          </p:nvPr>
        </p:nvSpPr>
        <p:spPr>
          <a:xfrm flipH="1">
            <a:off x="6375938" y="3741050"/>
            <a:ext cx="2048400" cy="852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2pPr>
            <a:lvl3pPr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3pPr>
            <a:lvl4pPr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4pPr>
            <a:lvl5pPr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5pPr>
            <a:lvl6pPr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6pPr>
            <a:lvl7pPr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7pPr>
            <a:lvl8pPr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8pPr>
            <a:lvl9pPr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000"/>
              <a:buNone/>
              <a:defRPr sz="1000"/>
            </a:lvl9pPr>
          </a:lstStyle>
          <a:p>
            <a:endParaRPr/>
          </a:p>
        </p:txBody>
      </p:sp>
      <p:sp>
        <p:nvSpPr>
          <p:cNvPr id="100" name="Google Shape;100;p15"/>
          <p:cNvSpPr txBox="1">
            <a:spLocks noGrp="1"/>
          </p:cNvSpPr>
          <p:nvPr>
            <p:ph type="title" idx="6"/>
          </p:nvPr>
        </p:nvSpPr>
        <p:spPr>
          <a:xfrm>
            <a:off x="2092450" y="445025"/>
            <a:ext cx="63318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 b="0">
                <a:latin typeface="Source Sans Pro SemiBold"/>
                <a:ea typeface="Source Sans Pro SemiBold"/>
                <a:cs typeface="Source Sans Pro SemiBold"/>
                <a:sym typeface="Source Sans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Quote">
  <p:cSld name="Quote">
    <p:spTree>
      <p:nvGrpSpPr>
        <p:cNvPr id="1" name="Shape 471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72" name="Google Shape;472;p14"/>
          <p:cNvSpPr txBox="1">
            <a:spLocks noGrp="1"/>
          </p:cNvSpPr>
          <p:nvPr>
            <p:ph type="title"/>
          </p:nvPr>
        </p:nvSpPr>
        <p:spPr>
          <a:xfrm>
            <a:off x="2290025" y="3621300"/>
            <a:ext cx="4563900" cy="5319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  <p:sp>
        <p:nvSpPr>
          <p:cNvPr id="473" name="Google Shape;473;p14"/>
          <p:cNvSpPr txBox="1">
            <a:spLocks noGrp="1"/>
          </p:cNvSpPr>
          <p:nvPr>
            <p:ph type="subTitle" idx="1"/>
          </p:nvPr>
        </p:nvSpPr>
        <p:spPr>
          <a:xfrm>
            <a:off x="2290025" y="1438600"/>
            <a:ext cx="4563900" cy="2023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3000"/>
              <a:buNone/>
              <a:defRPr sz="2700"/>
            </a:lvl1pPr>
            <a:lvl2pPr lvl="1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SzPts val="1600"/>
              <a:buNone/>
              <a:defRPr/>
            </a:lvl9pPr>
          </a:lstStyle>
          <a:p>
            <a:endParaRPr/>
          </a:p>
        </p:txBody>
      </p:sp>
      <p:sp>
        <p:nvSpPr>
          <p:cNvPr id="474" name="Google Shape;474;p14"/>
          <p:cNvSpPr/>
          <p:nvPr/>
        </p:nvSpPr>
        <p:spPr>
          <a:xfrm>
            <a:off x="-526450" y="-472100"/>
            <a:ext cx="2023200" cy="2023200"/>
          </a:xfrm>
          <a:prstGeom prst="ellipse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75" name="Google Shape;475;p14"/>
          <p:cNvSpPr/>
          <p:nvPr/>
        </p:nvSpPr>
        <p:spPr>
          <a:xfrm>
            <a:off x="7606950" y="540000"/>
            <a:ext cx="3849600" cy="3849600"/>
          </a:xfrm>
          <a:prstGeom prst="ellipse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76" name="Google Shape;476;p14"/>
          <p:cNvGrpSpPr/>
          <p:nvPr/>
        </p:nvGrpSpPr>
        <p:grpSpPr>
          <a:xfrm flipH="1">
            <a:off x="171440" y="1186891"/>
            <a:ext cx="627403" cy="626071"/>
            <a:chOff x="3510300" y="2634425"/>
            <a:chExt cx="576975" cy="575750"/>
          </a:xfrm>
        </p:grpSpPr>
        <p:sp>
          <p:nvSpPr>
            <p:cNvPr id="477" name="Google Shape;477;p14"/>
            <p:cNvSpPr/>
            <p:nvPr/>
          </p:nvSpPr>
          <p:spPr>
            <a:xfrm>
              <a:off x="3743325" y="2634425"/>
              <a:ext cx="110925" cy="575750"/>
            </a:xfrm>
            <a:custGeom>
              <a:avLst/>
              <a:gdLst/>
              <a:ahLst/>
              <a:cxnLst/>
              <a:rect l="l" t="t" r="r" b="b"/>
              <a:pathLst>
                <a:path w="4437" h="23030" extrusionOk="0">
                  <a:moveTo>
                    <a:pt x="2193" y="1"/>
                  </a:moveTo>
                  <a:cubicBezTo>
                    <a:pt x="997" y="1"/>
                    <a:pt x="0" y="998"/>
                    <a:pt x="0" y="2194"/>
                  </a:cubicBezTo>
                  <a:lnTo>
                    <a:pt x="0" y="20786"/>
                  </a:lnTo>
                  <a:cubicBezTo>
                    <a:pt x="0" y="22032"/>
                    <a:pt x="997" y="23029"/>
                    <a:pt x="2193" y="23029"/>
                  </a:cubicBezTo>
                  <a:cubicBezTo>
                    <a:pt x="3440" y="23029"/>
                    <a:pt x="4437" y="22032"/>
                    <a:pt x="4437" y="20786"/>
                  </a:cubicBezTo>
                  <a:lnTo>
                    <a:pt x="4437" y="2194"/>
                  </a:lnTo>
                  <a:cubicBezTo>
                    <a:pt x="4437" y="998"/>
                    <a:pt x="3440" y="1"/>
                    <a:pt x="2193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78" name="Google Shape;478;p14"/>
            <p:cNvSpPr/>
            <p:nvPr/>
          </p:nvSpPr>
          <p:spPr>
            <a:xfrm>
              <a:off x="3510300" y="2866200"/>
              <a:ext cx="576975" cy="112175"/>
            </a:xfrm>
            <a:custGeom>
              <a:avLst/>
              <a:gdLst/>
              <a:ahLst/>
              <a:cxnLst/>
              <a:rect l="l" t="t" r="r" b="b"/>
              <a:pathLst>
                <a:path w="23079" h="4487" extrusionOk="0">
                  <a:moveTo>
                    <a:pt x="2243" y="1"/>
                  </a:moveTo>
                  <a:cubicBezTo>
                    <a:pt x="997" y="1"/>
                    <a:pt x="0" y="998"/>
                    <a:pt x="0" y="2244"/>
                  </a:cubicBezTo>
                  <a:cubicBezTo>
                    <a:pt x="0" y="3440"/>
                    <a:pt x="997" y="4437"/>
                    <a:pt x="2243" y="4487"/>
                  </a:cubicBezTo>
                  <a:lnTo>
                    <a:pt x="20836" y="4487"/>
                  </a:lnTo>
                  <a:cubicBezTo>
                    <a:pt x="22082" y="4437"/>
                    <a:pt x="23079" y="3440"/>
                    <a:pt x="23079" y="2244"/>
                  </a:cubicBezTo>
                  <a:cubicBezTo>
                    <a:pt x="23029" y="998"/>
                    <a:pt x="22032" y="1"/>
                    <a:pt x="20836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79" name="Google Shape;479;p14"/>
          <p:cNvGrpSpPr/>
          <p:nvPr/>
        </p:nvGrpSpPr>
        <p:grpSpPr>
          <a:xfrm flipH="1">
            <a:off x="7606957" y="2107323"/>
            <a:ext cx="533067" cy="531878"/>
            <a:chOff x="3510300" y="2634425"/>
            <a:chExt cx="576975" cy="575750"/>
          </a:xfrm>
        </p:grpSpPr>
        <p:sp>
          <p:nvSpPr>
            <p:cNvPr id="480" name="Google Shape;480;p14"/>
            <p:cNvSpPr/>
            <p:nvPr/>
          </p:nvSpPr>
          <p:spPr>
            <a:xfrm>
              <a:off x="3743325" y="2634425"/>
              <a:ext cx="110925" cy="575750"/>
            </a:xfrm>
            <a:custGeom>
              <a:avLst/>
              <a:gdLst/>
              <a:ahLst/>
              <a:cxnLst/>
              <a:rect l="l" t="t" r="r" b="b"/>
              <a:pathLst>
                <a:path w="4437" h="23030" extrusionOk="0">
                  <a:moveTo>
                    <a:pt x="2193" y="1"/>
                  </a:moveTo>
                  <a:cubicBezTo>
                    <a:pt x="997" y="1"/>
                    <a:pt x="0" y="998"/>
                    <a:pt x="0" y="2194"/>
                  </a:cubicBezTo>
                  <a:lnTo>
                    <a:pt x="0" y="20786"/>
                  </a:lnTo>
                  <a:cubicBezTo>
                    <a:pt x="0" y="22032"/>
                    <a:pt x="997" y="23029"/>
                    <a:pt x="2193" y="23029"/>
                  </a:cubicBezTo>
                  <a:cubicBezTo>
                    <a:pt x="3440" y="23029"/>
                    <a:pt x="4437" y="22032"/>
                    <a:pt x="4437" y="20786"/>
                  </a:cubicBezTo>
                  <a:lnTo>
                    <a:pt x="4437" y="2194"/>
                  </a:lnTo>
                  <a:cubicBezTo>
                    <a:pt x="4437" y="998"/>
                    <a:pt x="3440" y="1"/>
                    <a:pt x="2193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1" name="Google Shape;481;p14"/>
            <p:cNvSpPr/>
            <p:nvPr/>
          </p:nvSpPr>
          <p:spPr>
            <a:xfrm>
              <a:off x="3510300" y="2866200"/>
              <a:ext cx="576975" cy="112175"/>
            </a:xfrm>
            <a:custGeom>
              <a:avLst/>
              <a:gdLst/>
              <a:ahLst/>
              <a:cxnLst/>
              <a:rect l="l" t="t" r="r" b="b"/>
              <a:pathLst>
                <a:path w="23079" h="4487" extrusionOk="0">
                  <a:moveTo>
                    <a:pt x="2243" y="1"/>
                  </a:moveTo>
                  <a:cubicBezTo>
                    <a:pt x="997" y="1"/>
                    <a:pt x="0" y="998"/>
                    <a:pt x="0" y="2244"/>
                  </a:cubicBezTo>
                  <a:cubicBezTo>
                    <a:pt x="0" y="3440"/>
                    <a:pt x="997" y="4437"/>
                    <a:pt x="2243" y="4487"/>
                  </a:cubicBezTo>
                  <a:lnTo>
                    <a:pt x="20836" y="4487"/>
                  </a:lnTo>
                  <a:cubicBezTo>
                    <a:pt x="22082" y="4437"/>
                    <a:pt x="23079" y="3440"/>
                    <a:pt x="23079" y="2244"/>
                  </a:cubicBezTo>
                  <a:cubicBezTo>
                    <a:pt x="23029" y="998"/>
                    <a:pt x="22032" y="1"/>
                    <a:pt x="20836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82" name="Google Shape;482;p14"/>
          <p:cNvGrpSpPr/>
          <p:nvPr/>
        </p:nvGrpSpPr>
        <p:grpSpPr>
          <a:xfrm flipH="1">
            <a:off x="8424263" y="3461792"/>
            <a:ext cx="1328625" cy="1223220"/>
            <a:chOff x="984400" y="3436950"/>
            <a:chExt cx="2214375" cy="2038700"/>
          </a:xfrm>
        </p:grpSpPr>
        <p:sp>
          <p:nvSpPr>
            <p:cNvPr id="483" name="Google Shape;483;p14"/>
            <p:cNvSpPr/>
            <p:nvPr/>
          </p:nvSpPr>
          <p:spPr>
            <a:xfrm>
              <a:off x="984400" y="3436950"/>
              <a:ext cx="1602525" cy="1166400"/>
            </a:xfrm>
            <a:custGeom>
              <a:avLst/>
              <a:gdLst/>
              <a:ahLst/>
              <a:cxnLst/>
              <a:rect l="l" t="t" r="r" b="b"/>
              <a:pathLst>
                <a:path w="64101" h="46656" extrusionOk="0">
                  <a:moveTo>
                    <a:pt x="61659" y="0"/>
                  </a:moveTo>
                  <a:lnTo>
                    <a:pt x="0" y="43166"/>
                  </a:lnTo>
                  <a:lnTo>
                    <a:pt x="2442" y="46655"/>
                  </a:lnTo>
                  <a:lnTo>
                    <a:pt x="64101" y="3489"/>
                  </a:lnTo>
                  <a:lnTo>
                    <a:pt x="61659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4" name="Google Shape;484;p14"/>
            <p:cNvSpPr/>
            <p:nvPr/>
          </p:nvSpPr>
          <p:spPr>
            <a:xfrm>
              <a:off x="1106500" y="3611400"/>
              <a:ext cx="1602550" cy="1166400"/>
            </a:xfrm>
            <a:custGeom>
              <a:avLst/>
              <a:gdLst/>
              <a:ahLst/>
              <a:cxnLst/>
              <a:rect l="l" t="t" r="r" b="b"/>
              <a:pathLst>
                <a:path w="64102" h="46656" extrusionOk="0">
                  <a:moveTo>
                    <a:pt x="61659" y="0"/>
                  </a:moveTo>
                  <a:lnTo>
                    <a:pt x="1" y="43167"/>
                  </a:lnTo>
                  <a:lnTo>
                    <a:pt x="2443" y="46656"/>
                  </a:lnTo>
                  <a:lnTo>
                    <a:pt x="64102" y="3490"/>
                  </a:lnTo>
                  <a:lnTo>
                    <a:pt x="61659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5" name="Google Shape;485;p14"/>
            <p:cNvSpPr/>
            <p:nvPr/>
          </p:nvSpPr>
          <p:spPr>
            <a:xfrm>
              <a:off x="1228625" y="3785850"/>
              <a:ext cx="1603800" cy="1166425"/>
            </a:xfrm>
            <a:custGeom>
              <a:avLst/>
              <a:gdLst/>
              <a:ahLst/>
              <a:cxnLst/>
              <a:rect l="l" t="t" r="r" b="b"/>
              <a:pathLst>
                <a:path w="64152" h="46657" extrusionOk="0">
                  <a:moveTo>
                    <a:pt x="61709" y="1"/>
                  </a:moveTo>
                  <a:lnTo>
                    <a:pt x="1" y="43167"/>
                  </a:lnTo>
                  <a:lnTo>
                    <a:pt x="2443" y="46656"/>
                  </a:lnTo>
                  <a:lnTo>
                    <a:pt x="64151" y="3490"/>
                  </a:lnTo>
                  <a:lnTo>
                    <a:pt x="61709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6" name="Google Shape;486;p14"/>
            <p:cNvSpPr/>
            <p:nvPr/>
          </p:nvSpPr>
          <p:spPr>
            <a:xfrm>
              <a:off x="1350750" y="3960325"/>
              <a:ext cx="1603800" cy="1166400"/>
            </a:xfrm>
            <a:custGeom>
              <a:avLst/>
              <a:gdLst/>
              <a:ahLst/>
              <a:cxnLst/>
              <a:rect l="l" t="t" r="r" b="b"/>
              <a:pathLst>
                <a:path w="64152" h="46656" extrusionOk="0">
                  <a:moveTo>
                    <a:pt x="61709" y="0"/>
                  </a:moveTo>
                  <a:lnTo>
                    <a:pt x="0" y="43166"/>
                  </a:lnTo>
                  <a:lnTo>
                    <a:pt x="2443" y="46655"/>
                  </a:lnTo>
                  <a:lnTo>
                    <a:pt x="64151" y="3489"/>
                  </a:lnTo>
                  <a:lnTo>
                    <a:pt x="61709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7" name="Google Shape;487;p14"/>
            <p:cNvSpPr/>
            <p:nvPr/>
          </p:nvSpPr>
          <p:spPr>
            <a:xfrm>
              <a:off x="1472875" y="4134775"/>
              <a:ext cx="1603800" cy="1166400"/>
            </a:xfrm>
            <a:custGeom>
              <a:avLst/>
              <a:gdLst/>
              <a:ahLst/>
              <a:cxnLst/>
              <a:rect l="l" t="t" r="r" b="b"/>
              <a:pathLst>
                <a:path w="64152" h="46656" extrusionOk="0">
                  <a:moveTo>
                    <a:pt x="61709" y="1"/>
                  </a:moveTo>
                  <a:lnTo>
                    <a:pt x="0" y="43167"/>
                  </a:lnTo>
                  <a:lnTo>
                    <a:pt x="2443" y="46656"/>
                  </a:lnTo>
                  <a:lnTo>
                    <a:pt x="64151" y="3490"/>
                  </a:lnTo>
                  <a:lnTo>
                    <a:pt x="61709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88" name="Google Shape;488;p14"/>
            <p:cNvSpPr/>
            <p:nvPr/>
          </p:nvSpPr>
          <p:spPr>
            <a:xfrm>
              <a:off x="1595000" y="4310475"/>
              <a:ext cx="1603775" cy="1165175"/>
            </a:xfrm>
            <a:custGeom>
              <a:avLst/>
              <a:gdLst/>
              <a:ahLst/>
              <a:cxnLst/>
              <a:rect l="l" t="t" r="r" b="b"/>
              <a:pathLst>
                <a:path w="64151" h="46607" extrusionOk="0">
                  <a:moveTo>
                    <a:pt x="61709" y="1"/>
                  </a:moveTo>
                  <a:lnTo>
                    <a:pt x="0" y="43117"/>
                  </a:lnTo>
                  <a:lnTo>
                    <a:pt x="2443" y="46606"/>
                  </a:lnTo>
                  <a:lnTo>
                    <a:pt x="64151" y="3490"/>
                  </a:lnTo>
                  <a:lnTo>
                    <a:pt x="61709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89" name="Google Shape;489;p14"/>
          <p:cNvGrpSpPr/>
          <p:nvPr/>
        </p:nvGrpSpPr>
        <p:grpSpPr>
          <a:xfrm rot="-5400000" flipH="1">
            <a:off x="-250758" y="3016968"/>
            <a:ext cx="2222308" cy="2222308"/>
            <a:chOff x="238125" y="2189800"/>
            <a:chExt cx="1119325" cy="1119325"/>
          </a:xfrm>
        </p:grpSpPr>
        <p:sp>
          <p:nvSpPr>
            <p:cNvPr id="490" name="Google Shape;490;p14"/>
            <p:cNvSpPr/>
            <p:nvPr/>
          </p:nvSpPr>
          <p:spPr>
            <a:xfrm>
              <a:off x="289900" y="2241600"/>
              <a:ext cx="267950" cy="267950"/>
            </a:xfrm>
            <a:custGeom>
              <a:avLst/>
              <a:gdLst/>
              <a:ahLst/>
              <a:cxnLst/>
              <a:rect l="l" t="t" r="r" b="b"/>
              <a:pathLst>
                <a:path w="10718" h="10718" extrusionOk="0">
                  <a:moveTo>
                    <a:pt x="10717" y="1"/>
                  </a:moveTo>
                  <a:lnTo>
                    <a:pt x="10717" y="1"/>
                  </a:lnTo>
                  <a:cubicBezTo>
                    <a:pt x="8382" y="1104"/>
                    <a:pt x="6257" y="2604"/>
                    <a:pt x="4431" y="4431"/>
                  </a:cubicBezTo>
                  <a:cubicBezTo>
                    <a:pt x="2604" y="6255"/>
                    <a:pt x="1106" y="8382"/>
                    <a:pt x="1" y="10717"/>
                  </a:cubicBezTo>
                  <a:lnTo>
                    <a:pt x="10717" y="1"/>
                  </a:ln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1" name="Google Shape;491;p14"/>
            <p:cNvSpPr/>
            <p:nvPr/>
          </p:nvSpPr>
          <p:spPr>
            <a:xfrm>
              <a:off x="238275" y="2189975"/>
              <a:ext cx="511350" cy="511375"/>
            </a:xfrm>
            <a:custGeom>
              <a:avLst/>
              <a:gdLst/>
              <a:ahLst/>
              <a:cxnLst/>
              <a:rect l="l" t="t" r="r" b="b"/>
              <a:pathLst>
                <a:path w="20454" h="20455" extrusionOk="0">
                  <a:moveTo>
                    <a:pt x="20453" y="1"/>
                  </a:moveTo>
                  <a:lnTo>
                    <a:pt x="20453" y="1"/>
                  </a:lnTo>
                  <a:cubicBezTo>
                    <a:pt x="19736" y="63"/>
                    <a:pt x="19023" y="158"/>
                    <a:pt x="18312" y="287"/>
                  </a:cubicBezTo>
                  <a:lnTo>
                    <a:pt x="289" y="18312"/>
                  </a:lnTo>
                  <a:cubicBezTo>
                    <a:pt x="159" y="19023"/>
                    <a:pt x="63" y="19736"/>
                    <a:pt x="1" y="20455"/>
                  </a:cubicBezTo>
                  <a:lnTo>
                    <a:pt x="20453" y="1"/>
                  </a:ln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2" name="Google Shape;492;p14"/>
            <p:cNvSpPr/>
            <p:nvPr/>
          </p:nvSpPr>
          <p:spPr>
            <a:xfrm>
              <a:off x="238125" y="2189800"/>
              <a:ext cx="646975" cy="646950"/>
            </a:xfrm>
            <a:custGeom>
              <a:avLst/>
              <a:gdLst/>
              <a:ahLst/>
              <a:cxnLst/>
              <a:rect l="l" t="t" r="r" b="b"/>
              <a:pathLst>
                <a:path w="25879" h="25878" extrusionOk="0">
                  <a:moveTo>
                    <a:pt x="24220" y="1"/>
                  </a:moveTo>
                  <a:lnTo>
                    <a:pt x="0" y="24221"/>
                  </a:lnTo>
                  <a:cubicBezTo>
                    <a:pt x="46" y="24774"/>
                    <a:pt x="111" y="25327"/>
                    <a:pt x="197" y="25877"/>
                  </a:cubicBezTo>
                  <a:lnTo>
                    <a:pt x="25878" y="197"/>
                  </a:lnTo>
                  <a:cubicBezTo>
                    <a:pt x="25328" y="111"/>
                    <a:pt x="24775" y="45"/>
                    <a:pt x="24220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3" name="Google Shape;493;p14"/>
            <p:cNvSpPr/>
            <p:nvPr/>
          </p:nvSpPr>
          <p:spPr>
            <a:xfrm>
              <a:off x="260500" y="2212175"/>
              <a:ext cx="735575" cy="735575"/>
            </a:xfrm>
            <a:custGeom>
              <a:avLst/>
              <a:gdLst/>
              <a:ahLst/>
              <a:cxnLst/>
              <a:rect l="l" t="t" r="r" b="b"/>
              <a:pathLst>
                <a:path w="29423" h="29423" extrusionOk="0">
                  <a:moveTo>
                    <a:pt x="28037" y="0"/>
                  </a:moveTo>
                  <a:lnTo>
                    <a:pt x="1" y="28036"/>
                  </a:lnTo>
                  <a:cubicBezTo>
                    <a:pt x="143" y="28502"/>
                    <a:pt x="298" y="28964"/>
                    <a:pt x="470" y="29423"/>
                  </a:cubicBezTo>
                  <a:lnTo>
                    <a:pt x="29422" y="471"/>
                  </a:lnTo>
                  <a:cubicBezTo>
                    <a:pt x="28965" y="299"/>
                    <a:pt x="28503" y="142"/>
                    <a:pt x="28037" y="0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4" name="Google Shape;494;p14"/>
            <p:cNvSpPr/>
            <p:nvPr/>
          </p:nvSpPr>
          <p:spPr>
            <a:xfrm>
              <a:off x="301425" y="2253075"/>
              <a:ext cx="788775" cy="788825"/>
            </a:xfrm>
            <a:custGeom>
              <a:avLst/>
              <a:gdLst/>
              <a:ahLst/>
              <a:cxnLst/>
              <a:rect l="l" t="t" r="r" b="b"/>
              <a:pathLst>
                <a:path w="31551" h="31553" extrusionOk="0">
                  <a:moveTo>
                    <a:pt x="30370" y="1"/>
                  </a:moveTo>
                  <a:lnTo>
                    <a:pt x="0" y="30371"/>
                  </a:lnTo>
                  <a:cubicBezTo>
                    <a:pt x="211" y="30770"/>
                    <a:pt x="436" y="31164"/>
                    <a:pt x="675" y="31552"/>
                  </a:cubicBezTo>
                  <a:lnTo>
                    <a:pt x="31551" y="675"/>
                  </a:lnTo>
                  <a:cubicBezTo>
                    <a:pt x="31163" y="437"/>
                    <a:pt x="30770" y="213"/>
                    <a:pt x="30370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5" name="Google Shape;495;p14"/>
            <p:cNvSpPr/>
            <p:nvPr/>
          </p:nvSpPr>
          <p:spPr>
            <a:xfrm>
              <a:off x="356800" y="2308450"/>
              <a:ext cx="813925" cy="813925"/>
            </a:xfrm>
            <a:custGeom>
              <a:avLst/>
              <a:gdLst/>
              <a:ahLst/>
              <a:cxnLst/>
              <a:rect l="l" t="t" r="r" b="b"/>
              <a:pathLst>
                <a:path w="32557" h="32557" extrusionOk="0">
                  <a:moveTo>
                    <a:pt x="31547" y="1"/>
                  </a:moveTo>
                  <a:lnTo>
                    <a:pt x="0" y="31549"/>
                  </a:lnTo>
                  <a:cubicBezTo>
                    <a:pt x="270" y="31890"/>
                    <a:pt x="552" y="32227"/>
                    <a:pt x="846" y="32556"/>
                  </a:cubicBezTo>
                  <a:lnTo>
                    <a:pt x="32556" y="848"/>
                  </a:lnTo>
                  <a:cubicBezTo>
                    <a:pt x="32226" y="554"/>
                    <a:pt x="31890" y="272"/>
                    <a:pt x="31547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6" name="Google Shape;496;p14"/>
            <p:cNvSpPr/>
            <p:nvPr/>
          </p:nvSpPr>
          <p:spPr>
            <a:xfrm>
              <a:off x="424825" y="2376525"/>
              <a:ext cx="813925" cy="813925"/>
            </a:xfrm>
            <a:custGeom>
              <a:avLst/>
              <a:gdLst/>
              <a:ahLst/>
              <a:cxnLst/>
              <a:rect l="l" t="t" r="r" b="b"/>
              <a:pathLst>
                <a:path w="32557" h="32557" extrusionOk="0">
                  <a:moveTo>
                    <a:pt x="31711" y="1"/>
                  </a:moveTo>
                  <a:lnTo>
                    <a:pt x="1" y="31709"/>
                  </a:lnTo>
                  <a:cubicBezTo>
                    <a:pt x="331" y="32003"/>
                    <a:pt x="667" y="32286"/>
                    <a:pt x="1010" y="32556"/>
                  </a:cubicBezTo>
                  <a:lnTo>
                    <a:pt x="32557" y="1010"/>
                  </a:lnTo>
                  <a:cubicBezTo>
                    <a:pt x="32287" y="667"/>
                    <a:pt x="32005" y="330"/>
                    <a:pt x="31711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7" name="Google Shape;497;p14"/>
            <p:cNvSpPr/>
            <p:nvPr/>
          </p:nvSpPr>
          <p:spPr>
            <a:xfrm>
              <a:off x="505350" y="2457000"/>
              <a:ext cx="788775" cy="788875"/>
            </a:xfrm>
            <a:custGeom>
              <a:avLst/>
              <a:gdLst/>
              <a:ahLst/>
              <a:cxnLst/>
              <a:rect l="l" t="t" r="r" b="b"/>
              <a:pathLst>
                <a:path w="31551" h="31555" extrusionOk="0">
                  <a:moveTo>
                    <a:pt x="30878" y="1"/>
                  </a:moveTo>
                  <a:lnTo>
                    <a:pt x="0" y="30879"/>
                  </a:lnTo>
                  <a:cubicBezTo>
                    <a:pt x="388" y="31116"/>
                    <a:pt x="782" y="31340"/>
                    <a:pt x="1181" y="31554"/>
                  </a:cubicBezTo>
                  <a:lnTo>
                    <a:pt x="31551" y="1182"/>
                  </a:lnTo>
                  <a:cubicBezTo>
                    <a:pt x="31340" y="783"/>
                    <a:pt x="31116" y="389"/>
                    <a:pt x="30878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8" name="Google Shape;498;p14"/>
            <p:cNvSpPr/>
            <p:nvPr/>
          </p:nvSpPr>
          <p:spPr>
            <a:xfrm>
              <a:off x="599500" y="2551175"/>
              <a:ext cx="735550" cy="735550"/>
            </a:xfrm>
            <a:custGeom>
              <a:avLst/>
              <a:gdLst/>
              <a:ahLst/>
              <a:cxnLst/>
              <a:rect l="l" t="t" r="r" b="b"/>
              <a:pathLst>
                <a:path w="29422" h="29422" extrusionOk="0">
                  <a:moveTo>
                    <a:pt x="28952" y="1"/>
                  </a:moveTo>
                  <a:lnTo>
                    <a:pt x="0" y="28953"/>
                  </a:lnTo>
                  <a:cubicBezTo>
                    <a:pt x="457" y="29125"/>
                    <a:pt x="919" y="29282"/>
                    <a:pt x="1385" y="29422"/>
                  </a:cubicBezTo>
                  <a:lnTo>
                    <a:pt x="29421" y="1386"/>
                  </a:lnTo>
                  <a:cubicBezTo>
                    <a:pt x="29281" y="920"/>
                    <a:pt x="29124" y="458"/>
                    <a:pt x="28952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99" name="Google Shape;499;p14"/>
            <p:cNvSpPr/>
            <p:nvPr/>
          </p:nvSpPr>
          <p:spPr>
            <a:xfrm>
              <a:off x="710450" y="2662150"/>
              <a:ext cx="647000" cy="646975"/>
            </a:xfrm>
            <a:custGeom>
              <a:avLst/>
              <a:gdLst/>
              <a:ahLst/>
              <a:cxnLst/>
              <a:rect l="l" t="t" r="r" b="b"/>
              <a:pathLst>
                <a:path w="25880" h="25879" extrusionOk="0">
                  <a:moveTo>
                    <a:pt x="25682" y="1"/>
                  </a:moveTo>
                  <a:lnTo>
                    <a:pt x="1" y="25681"/>
                  </a:lnTo>
                  <a:cubicBezTo>
                    <a:pt x="552" y="25767"/>
                    <a:pt x="1104" y="25833"/>
                    <a:pt x="1659" y="25879"/>
                  </a:cubicBezTo>
                  <a:lnTo>
                    <a:pt x="25879" y="1659"/>
                  </a:lnTo>
                  <a:cubicBezTo>
                    <a:pt x="25834" y="1104"/>
                    <a:pt x="25768" y="551"/>
                    <a:pt x="25682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0" name="Google Shape;500;p14"/>
            <p:cNvSpPr/>
            <p:nvPr/>
          </p:nvSpPr>
          <p:spPr>
            <a:xfrm>
              <a:off x="845925" y="2797575"/>
              <a:ext cx="511350" cy="511350"/>
            </a:xfrm>
            <a:custGeom>
              <a:avLst/>
              <a:gdLst/>
              <a:ahLst/>
              <a:cxnLst/>
              <a:rect l="l" t="t" r="r" b="b"/>
              <a:pathLst>
                <a:path w="20454" h="20454" extrusionOk="0">
                  <a:moveTo>
                    <a:pt x="20453" y="1"/>
                  </a:moveTo>
                  <a:lnTo>
                    <a:pt x="1" y="20453"/>
                  </a:lnTo>
                  <a:cubicBezTo>
                    <a:pt x="718" y="20391"/>
                    <a:pt x="1431" y="20297"/>
                    <a:pt x="2142" y="20167"/>
                  </a:cubicBezTo>
                  <a:lnTo>
                    <a:pt x="20165" y="2142"/>
                  </a:lnTo>
                  <a:cubicBezTo>
                    <a:pt x="20295" y="1433"/>
                    <a:pt x="20391" y="720"/>
                    <a:pt x="20453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1" name="Google Shape;501;p14"/>
            <p:cNvSpPr/>
            <p:nvPr/>
          </p:nvSpPr>
          <p:spPr>
            <a:xfrm>
              <a:off x="1037700" y="2989400"/>
              <a:ext cx="267950" cy="267900"/>
            </a:xfrm>
            <a:custGeom>
              <a:avLst/>
              <a:gdLst/>
              <a:ahLst/>
              <a:cxnLst/>
              <a:rect l="l" t="t" r="r" b="b"/>
              <a:pathLst>
                <a:path w="10718" h="10716" extrusionOk="0">
                  <a:moveTo>
                    <a:pt x="10717" y="1"/>
                  </a:moveTo>
                  <a:lnTo>
                    <a:pt x="1" y="10715"/>
                  </a:lnTo>
                  <a:cubicBezTo>
                    <a:pt x="4703" y="8488"/>
                    <a:pt x="8489" y="4703"/>
                    <a:pt x="10717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02" name="Google Shape;502;p14"/>
          <p:cNvGrpSpPr/>
          <p:nvPr/>
        </p:nvGrpSpPr>
        <p:grpSpPr>
          <a:xfrm>
            <a:off x="4205084" y="4487867"/>
            <a:ext cx="733831" cy="116227"/>
            <a:chOff x="858972" y="4351054"/>
            <a:chExt cx="733831" cy="116227"/>
          </a:xfrm>
        </p:grpSpPr>
        <p:sp>
          <p:nvSpPr>
            <p:cNvPr id="503" name="Google Shape;503;p14"/>
            <p:cNvSpPr/>
            <p:nvPr/>
          </p:nvSpPr>
          <p:spPr>
            <a:xfrm>
              <a:off x="858972" y="4351054"/>
              <a:ext cx="232435" cy="116227"/>
            </a:xfrm>
            <a:custGeom>
              <a:avLst/>
              <a:gdLst/>
              <a:ahLst/>
              <a:cxnLst/>
              <a:rect l="l" t="t" r="r" b="b"/>
              <a:pathLst>
                <a:path w="12163" h="6082" fill="none" extrusionOk="0">
                  <a:moveTo>
                    <a:pt x="0" y="0"/>
                  </a:moveTo>
                  <a:lnTo>
                    <a:pt x="6082" y="6081"/>
                  </a:lnTo>
                  <a:lnTo>
                    <a:pt x="12163" y="0"/>
                  </a:lnTo>
                </a:path>
              </a:pathLst>
            </a:custGeom>
            <a:solidFill>
              <a:schemeClr val="lt1"/>
            </a:solidFill>
            <a:ln w="93450" cap="flat" cmpd="sng">
              <a:solidFill>
                <a:schemeClr val="lt1"/>
              </a:solidFill>
              <a:prstDash val="solid"/>
              <a:miter lim="4984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4" name="Google Shape;504;p14"/>
            <p:cNvSpPr/>
            <p:nvPr/>
          </p:nvSpPr>
          <p:spPr>
            <a:xfrm>
              <a:off x="1027053" y="4351054"/>
              <a:ext cx="232435" cy="116227"/>
            </a:xfrm>
            <a:custGeom>
              <a:avLst/>
              <a:gdLst/>
              <a:ahLst/>
              <a:cxnLst/>
              <a:rect l="l" t="t" r="r" b="b"/>
              <a:pathLst>
                <a:path w="12163" h="6082" fill="none" extrusionOk="0">
                  <a:moveTo>
                    <a:pt x="1" y="0"/>
                  </a:moveTo>
                  <a:lnTo>
                    <a:pt x="6082" y="6081"/>
                  </a:lnTo>
                  <a:lnTo>
                    <a:pt x="12163" y="0"/>
                  </a:lnTo>
                </a:path>
              </a:pathLst>
            </a:custGeom>
            <a:solidFill>
              <a:schemeClr val="lt1"/>
            </a:solidFill>
            <a:ln w="93450" cap="flat" cmpd="sng">
              <a:solidFill>
                <a:schemeClr val="lt1"/>
              </a:solidFill>
              <a:prstDash val="solid"/>
              <a:miter lim="4984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5" name="Google Shape;505;p14"/>
            <p:cNvSpPr/>
            <p:nvPr/>
          </p:nvSpPr>
          <p:spPr>
            <a:xfrm>
              <a:off x="1194198" y="4351054"/>
              <a:ext cx="232435" cy="116227"/>
            </a:xfrm>
            <a:custGeom>
              <a:avLst/>
              <a:gdLst/>
              <a:ahLst/>
              <a:cxnLst/>
              <a:rect l="l" t="t" r="r" b="b"/>
              <a:pathLst>
                <a:path w="12163" h="6082" fill="none" extrusionOk="0">
                  <a:moveTo>
                    <a:pt x="0" y="0"/>
                  </a:moveTo>
                  <a:lnTo>
                    <a:pt x="6081" y="6081"/>
                  </a:lnTo>
                  <a:lnTo>
                    <a:pt x="12162" y="0"/>
                  </a:lnTo>
                </a:path>
              </a:pathLst>
            </a:custGeom>
            <a:solidFill>
              <a:schemeClr val="lt1"/>
            </a:solidFill>
            <a:ln w="93450" cap="flat" cmpd="sng">
              <a:solidFill>
                <a:schemeClr val="lt1"/>
              </a:solidFill>
              <a:prstDash val="solid"/>
              <a:miter lim="4984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06" name="Google Shape;506;p14"/>
            <p:cNvSpPr/>
            <p:nvPr/>
          </p:nvSpPr>
          <p:spPr>
            <a:xfrm>
              <a:off x="1360369" y="4351054"/>
              <a:ext cx="232435" cy="116227"/>
            </a:xfrm>
            <a:custGeom>
              <a:avLst/>
              <a:gdLst/>
              <a:ahLst/>
              <a:cxnLst/>
              <a:rect l="l" t="t" r="r" b="b"/>
              <a:pathLst>
                <a:path w="12163" h="6082" fill="none" extrusionOk="0">
                  <a:moveTo>
                    <a:pt x="1" y="0"/>
                  </a:moveTo>
                  <a:lnTo>
                    <a:pt x="6082" y="6081"/>
                  </a:lnTo>
                  <a:lnTo>
                    <a:pt x="12163" y="0"/>
                  </a:lnTo>
                </a:path>
              </a:pathLst>
            </a:custGeom>
            <a:solidFill>
              <a:schemeClr val="lt1"/>
            </a:solidFill>
            <a:ln w="93450" cap="flat" cmpd="sng">
              <a:solidFill>
                <a:schemeClr val="lt1"/>
              </a:solidFill>
              <a:prstDash val="solid"/>
              <a:miter lim="4984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507" name="Google Shape;507;p14"/>
          <p:cNvSpPr/>
          <p:nvPr/>
        </p:nvSpPr>
        <p:spPr>
          <a:xfrm>
            <a:off x="346325" y="2048063"/>
            <a:ext cx="733800" cy="733800"/>
          </a:xfrm>
          <a:prstGeom prst="ellipse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08" name="Google Shape;508;p14"/>
          <p:cNvSpPr/>
          <p:nvPr/>
        </p:nvSpPr>
        <p:spPr>
          <a:xfrm>
            <a:off x="7606950" y="172588"/>
            <a:ext cx="733800" cy="733800"/>
          </a:xfrm>
          <a:prstGeom prst="ellipse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509" name="Google Shape;509;p14"/>
          <p:cNvSpPr/>
          <p:nvPr/>
        </p:nvSpPr>
        <p:spPr>
          <a:xfrm>
            <a:off x="8205750" y="4385550"/>
            <a:ext cx="437100" cy="437100"/>
          </a:xfrm>
          <a:prstGeom prst="ellipse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510" name="Google Shape;510;p14"/>
          <p:cNvGrpSpPr/>
          <p:nvPr/>
        </p:nvGrpSpPr>
        <p:grpSpPr>
          <a:xfrm rot="-5400000" flipH="1">
            <a:off x="7671644" y="493749"/>
            <a:ext cx="1223198" cy="1223198"/>
            <a:chOff x="238125" y="2189800"/>
            <a:chExt cx="1119325" cy="1119325"/>
          </a:xfrm>
        </p:grpSpPr>
        <p:sp>
          <p:nvSpPr>
            <p:cNvPr id="511" name="Google Shape;511;p14"/>
            <p:cNvSpPr/>
            <p:nvPr/>
          </p:nvSpPr>
          <p:spPr>
            <a:xfrm>
              <a:off x="289900" y="2241600"/>
              <a:ext cx="267950" cy="267950"/>
            </a:xfrm>
            <a:custGeom>
              <a:avLst/>
              <a:gdLst/>
              <a:ahLst/>
              <a:cxnLst/>
              <a:rect l="l" t="t" r="r" b="b"/>
              <a:pathLst>
                <a:path w="10718" h="10718" extrusionOk="0">
                  <a:moveTo>
                    <a:pt x="10717" y="1"/>
                  </a:moveTo>
                  <a:lnTo>
                    <a:pt x="10717" y="1"/>
                  </a:lnTo>
                  <a:cubicBezTo>
                    <a:pt x="8382" y="1104"/>
                    <a:pt x="6257" y="2604"/>
                    <a:pt x="4431" y="4431"/>
                  </a:cubicBezTo>
                  <a:cubicBezTo>
                    <a:pt x="2604" y="6255"/>
                    <a:pt x="1106" y="8382"/>
                    <a:pt x="1" y="10717"/>
                  </a:cubicBezTo>
                  <a:lnTo>
                    <a:pt x="10717" y="1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2" name="Google Shape;512;p14"/>
            <p:cNvSpPr/>
            <p:nvPr/>
          </p:nvSpPr>
          <p:spPr>
            <a:xfrm>
              <a:off x="238275" y="2189975"/>
              <a:ext cx="511350" cy="511375"/>
            </a:xfrm>
            <a:custGeom>
              <a:avLst/>
              <a:gdLst/>
              <a:ahLst/>
              <a:cxnLst/>
              <a:rect l="l" t="t" r="r" b="b"/>
              <a:pathLst>
                <a:path w="20454" h="20455" extrusionOk="0">
                  <a:moveTo>
                    <a:pt x="20453" y="1"/>
                  </a:moveTo>
                  <a:lnTo>
                    <a:pt x="20453" y="1"/>
                  </a:lnTo>
                  <a:cubicBezTo>
                    <a:pt x="19736" y="63"/>
                    <a:pt x="19023" y="158"/>
                    <a:pt x="18312" y="287"/>
                  </a:cubicBezTo>
                  <a:lnTo>
                    <a:pt x="289" y="18312"/>
                  </a:lnTo>
                  <a:cubicBezTo>
                    <a:pt x="159" y="19023"/>
                    <a:pt x="63" y="19736"/>
                    <a:pt x="1" y="20455"/>
                  </a:cubicBezTo>
                  <a:lnTo>
                    <a:pt x="20453" y="1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3" name="Google Shape;513;p14"/>
            <p:cNvSpPr/>
            <p:nvPr/>
          </p:nvSpPr>
          <p:spPr>
            <a:xfrm>
              <a:off x="238125" y="2189800"/>
              <a:ext cx="646975" cy="646950"/>
            </a:xfrm>
            <a:custGeom>
              <a:avLst/>
              <a:gdLst/>
              <a:ahLst/>
              <a:cxnLst/>
              <a:rect l="l" t="t" r="r" b="b"/>
              <a:pathLst>
                <a:path w="25879" h="25878" extrusionOk="0">
                  <a:moveTo>
                    <a:pt x="24220" y="1"/>
                  </a:moveTo>
                  <a:lnTo>
                    <a:pt x="0" y="24221"/>
                  </a:lnTo>
                  <a:cubicBezTo>
                    <a:pt x="46" y="24774"/>
                    <a:pt x="111" y="25327"/>
                    <a:pt x="197" y="25877"/>
                  </a:cubicBezTo>
                  <a:lnTo>
                    <a:pt x="25878" y="197"/>
                  </a:lnTo>
                  <a:cubicBezTo>
                    <a:pt x="25328" y="111"/>
                    <a:pt x="24775" y="45"/>
                    <a:pt x="24220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4" name="Google Shape;514;p14"/>
            <p:cNvSpPr/>
            <p:nvPr/>
          </p:nvSpPr>
          <p:spPr>
            <a:xfrm>
              <a:off x="260500" y="2212175"/>
              <a:ext cx="735575" cy="735575"/>
            </a:xfrm>
            <a:custGeom>
              <a:avLst/>
              <a:gdLst/>
              <a:ahLst/>
              <a:cxnLst/>
              <a:rect l="l" t="t" r="r" b="b"/>
              <a:pathLst>
                <a:path w="29423" h="29423" extrusionOk="0">
                  <a:moveTo>
                    <a:pt x="28037" y="0"/>
                  </a:moveTo>
                  <a:lnTo>
                    <a:pt x="1" y="28036"/>
                  </a:lnTo>
                  <a:cubicBezTo>
                    <a:pt x="143" y="28502"/>
                    <a:pt x="298" y="28964"/>
                    <a:pt x="470" y="29423"/>
                  </a:cubicBezTo>
                  <a:lnTo>
                    <a:pt x="29422" y="471"/>
                  </a:lnTo>
                  <a:cubicBezTo>
                    <a:pt x="28965" y="299"/>
                    <a:pt x="28503" y="142"/>
                    <a:pt x="28037" y="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5" name="Google Shape;515;p14"/>
            <p:cNvSpPr/>
            <p:nvPr/>
          </p:nvSpPr>
          <p:spPr>
            <a:xfrm>
              <a:off x="301425" y="2253075"/>
              <a:ext cx="788775" cy="788825"/>
            </a:xfrm>
            <a:custGeom>
              <a:avLst/>
              <a:gdLst/>
              <a:ahLst/>
              <a:cxnLst/>
              <a:rect l="l" t="t" r="r" b="b"/>
              <a:pathLst>
                <a:path w="31551" h="31553" extrusionOk="0">
                  <a:moveTo>
                    <a:pt x="30370" y="1"/>
                  </a:moveTo>
                  <a:lnTo>
                    <a:pt x="0" y="30371"/>
                  </a:lnTo>
                  <a:cubicBezTo>
                    <a:pt x="211" y="30770"/>
                    <a:pt x="436" y="31164"/>
                    <a:pt x="675" y="31552"/>
                  </a:cubicBezTo>
                  <a:lnTo>
                    <a:pt x="31551" y="675"/>
                  </a:lnTo>
                  <a:cubicBezTo>
                    <a:pt x="31163" y="437"/>
                    <a:pt x="30770" y="213"/>
                    <a:pt x="30370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6" name="Google Shape;516;p14"/>
            <p:cNvSpPr/>
            <p:nvPr/>
          </p:nvSpPr>
          <p:spPr>
            <a:xfrm>
              <a:off x="356800" y="2308450"/>
              <a:ext cx="813925" cy="813925"/>
            </a:xfrm>
            <a:custGeom>
              <a:avLst/>
              <a:gdLst/>
              <a:ahLst/>
              <a:cxnLst/>
              <a:rect l="l" t="t" r="r" b="b"/>
              <a:pathLst>
                <a:path w="32557" h="32557" extrusionOk="0">
                  <a:moveTo>
                    <a:pt x="31547" y="1"/>
                  </a:moveTo>
                  <a:lnTo>
                    <a:pt x="0" y="31549"/>
                  </a:lnTo>
                  <a:cubicBezTo>
                    <a:pt x="270" y="31890"/>
                    <a:pt x="552" y="32227"/>
                    <a:pt x="846" y="32556"/>
                  </a:cubicBezTo>
                  <a:lnTo>
                    <a:pt x="32556" y="848"/>
                  </a:lnTo>
                  <a:cubicBezTo>
                    <a:pt x="32226" y="554"/>
                    <a:pt x="31890" y="272"/>
                    <a:pt x="31547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7" name="Google Shape;517;p14"/>
            <p:cNvSpPr/>
            <p:nvPr/>
          </p:nvSpPr>
          <p:spPr>
            <a:xfrm>
              <a:off x="424825" y="2376525"/>
              <a:ext cx="813925" cy="813925"/>
            </a:xfrm>
            <a:custGeom>
              <a:avLst/>
              <a:gdLst/>
              <a:ahLst/>
              <a:cxnLst/>
              <a:rect l="l" t="t" r="r" b="b"/>
              <a:pathLst>
                <a:path w="32557" h="32557" extrusionOk="0">
                  <a:moveTo>
                    <a:pt x="31711" y="1"/>
                  </a:moveTo>
                  <a:lnTo>
                    <a:pt x="1" y="31709"/>
                  </a:lnTo>
                  <a:cubicBezTo>
                    <a:pt x="331" y="32003"/>
                    <a:pt x="667" y="32286"/>
                    <a:pt x="1010" y="32556"/>
                  </a:cubicBezTo>
                  <a:lnTo>
                    <a:pt x="32557" y="1010"/>
                  </a:lnTo>
                  <a:cubicBezTo>
                    <a:pt x="32287" y="667"/>
                    <a:pt x="32005" y="330"/>
                    <a:pt x="31711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8" name="Google Shape;518;p14"/>
            <p:cNvSpPr/>
            <p:nvPr/>
          </p:nvSpPr>
          <p:spPr>
            <a:xfrm>
              <a:off x="505350" y="2457000"/>
              <a:ext cx="788775" cy="788875"/>
            </a:xfrm>
            <a:custGeom>
              <a:avLst/>
              <a:gdLst/>
              <a:ahLst/>
              <a:cxnLst/>
              <a:rect l="l" t="t" r="r" b="b"/>
              <a:pathLst>
                <a:path w="31551" h="31555" extrusionOk="0">
                  <a:moveTo>
                    <a:pt x="30878" y="1"/>
                  </a:moveTo>
                  <a:lnTo>
                    <a:pt x="0" y="30879"/>
                  </a:lnTo>
                  <a:cubicBezTo>
                    <a:pt x="388" y="31116"/>
                    <a:pt x="782" y="31340"/>
                    <a:pt x="1181" y="31554"/>
                  </a:cubicBezTo>
                  <a:lnTo>
                    <a:pt x="31551" y="1182"/>
                  </a:lnTo>
                  <a:cubicBezTo>
                    <a:pt x="31340" y="783"/>
                    <a:pt x="31116" y="389"/>
                    <a:pt x="30878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19" name="Google Shape;519;p14"/>
            <p:cNvSpPr/>
            <p:nvPr/>
          </p:nvSpPr>
          <p:spPr>
            <a:xfrm>
              <a:off x="599500" y="2551175"/>
              <a:ext cx="735550" cy="735550"/>
            </a:xfrm>
            <a:custGeom>
              <a:avLst/>
              <a:gdLst/>
              <a:ahLst/>
              <a:cxnLst/>
              <a:rect l="l" t="t" r="r" b="b"/>
              <a:pathLst>
                <a:path w="29422" h="29422" extrusionOk="0">
                  <a:moveTo>
                    <a:pt x="28952" y="1"/>
                  </a:moveTo>
                  <a:lnTo>
                    <a:pt x="0" y="28953"/>
                  </a:lnTo>
                  <a:cubicBezTo>
                    <a:pt x="457" y="29125"/>
                    <a:pt x="919" y="29282"/>
                    <a:pt x="1385" y="29422"/>
                  </a:cubicBezTo>
                  <a:lnTo>
                    <a:pt x="29421" y="1386"/>
                  </a:lnTo>
                  <a:cubicBezTo>
                    <a:pt x="29281" y="920"/>
                    <a:pt x="29124" y="458"/>
                    <a:pt x="28952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0" name="Google Shape;520;p14"/>
            <p:cNvSpPr/>
            <p:nvPr/>
          </p:nvSpPr>
          <p:spPr>
            <a:xfrm>
              <a:off x="710450" y="2662150"/>
              <a:ext cx="647000" cy="646975"/>
            </a:xfrm>
            <a:custGeom>
              <a:avLst/>
              <a:gdLst/>
              <a:ahLst/>
              <a:cxnLst/>
              <a:rect l="l" t="t" r="r" b="b"/>
              <a:pathLst>
                <a:path w="25880" h="25879" extrusionOk="0">
                  <a:moveTo>
                    <a:pt x="25682" y="1"/>
                  </a:moveTo>
                  <a:lnTo>
                    <a:pt x="1" y="25681"/>
                  </a:lnTo>
                  <a:cubicBezTo>
                    <a:pt x="552" y="25767"/>
                    <a:pt x="1104" y="25833"/>
                    <a:pt x="1659" y="25879"/>
                  </a:cubicBezTo>
                  <a:lnTo>
                    <a:pt x="25879" y="1659"/>
                  </a:lnTo>
                  <a:cubicBezTo>
                    <a:pt x="25834" y="1104"/>
                    <a:pt x="25768" y="551"/>
                    <a:pt x="25682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1" name="Google Shape;521;p14"/>
            <p:cNvSpPr/>
            <p:nvPr/>
          </p:nvSpPr>
          <p:spPr>
            <a:xfrm>
              <a:off x="845925" y="2797575"/>
              <a:ext cx="511350" cy="511350"/>
            </a:xfrm>
            <a:custGeom>
              <a:avLst/>
              <a:gdLst/>
              <a:ahLst/>
              <a:cxnLst/>
              <a:rect l="l" t="t" r="r" b="b"/>
              <a:pathLst>
                <a:path w="20454" h="20454" extrusionOk="0">
                  <a:moveTo>
                    <a:pt x="20453" y="1"/>
                  </a:moveTo>
                  <a:lnTo>
                    <a:pt x="1" y="20453"/>
                  </a:lnTo>
                  <a:cubicBezTo>
                    <a:pt x="718" y="20391"/>
                    <a:pt x="1431" y="20297"/>
                    <a:pt x="2142" y="20167"/>
                  </a:cubicBezTo>
                  <a:lnTo>
                    <a:pt x="20165" y="2142"/>
                  </a:lnTo>
                  <a:cubicBezTo>
                    <a:pt x="20295" y="1433"/>
                    <a:pt x="20391" y="720"/>
                    <a:pt x="20453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22" name="Google Shape;522;p14"/>
            <p:cNvSpPr/>
            <p:nvPr/>
          </p:nvSpPr>
          <p:spPr>
            <a:xfrm>
              <a:off x="1037700" y="2989400"/>
              <a:ext cx="267950" cy="267900"/>
            </a:xfrm>
            <a:custGeom>
              <a:avLst/>
              <a:gdLst/>
              <a:ahLst/>
              <a:cxnLst/>
              <a:rect l="l" t="t" r="r" b="b"/>
              <a:pathLst>
                <a:path w="10718" h="10716" extrusionOk="0">
                  <a:moveTo>
                    <a:pt x="10717" y="1"/>
                  </a:moveTo>
                  <a:lnTo>
                    <a:pt x="1" y="10715"/>
                  </a:lnTo>
                  <a:cubicBezTo>
                    <a:pt x="4703" y="8488"/>
                    <a:pt x="8489" y="4703"/>
                    <a:pt x="10717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625455211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">
  <p:cSld name="Title and four columns">
    <p:spTree>
      <p:nvGrpSpPr>
        <p:cNvPr id="1" name="Shape 5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4" name="Google Shape;574;p16"/>
          <p:cNvSpPr/>
          <p:nvPr/>
        </p:nvSpPr>
        <p:spPr>
          <a:xfrm rot="10800000" flipH="1">
            <a:off x="-574227" y="-197825"/>
            <a:ext cx="3668100" cy="2162400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575" name="Google Shape;575;p16"/>
          <p:cNvCxnSpPr/>
          <p:nvPr/>
        </p:nvCxnSpPr>
        <p:spPr>
          <a:xfrm flipH="1">
            <a:off x="314067" y="-311900"/>
            <a:ext cx="2601300" cy="1525800"/>
          </a:xfrm>
          <a:prstGeom prst="straightConnector1">
            <a:avLst/>
          </a:prstGeom>
          <a:noFill/>
          <a:ln w="28575" cap="flat" cmpd="sng">
            <a:solidFill>
              <a:schemeClr val="lt1"/>
            </a:solidFill>
            <a:prstDash val="lgDash"/>
            <a:round/>
            <a:headEnd type="none" w="med" len="med"/>
            <a:tailEnd type="none" w="med" len="med"/>
          </a:ln>
        </p:spPr>
      </p:cxnSp>
      <p:sp>
        <p:nvSpPr>
          <p:cNvPr id="576" name="Google Shape;576;p16"/>
          <p:cNvSpPr txBox="1">
            <a:spLocks noGrp="1"/>
          </p:cNvSpPr>
          <p:nvPr>
            <p:ph type="title"/>
          </p:nvPr>
        </p:nvSpPr>
        <p:spPr>
          <a:xfrm>
            <a:off x="720000" y="445025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77" name="Google Shape;577;p16"/>
          <p:cNvSpPr txBox="1">
            <a:spLocks noGrp="1"/>
          </p:cNvSpPr>
          <p:nvPr>
            <p:ph type="title" idx="2"/>
          </p:nvPr>
        </p:nvSpPr>
        <p:spPr>
          <a:xfrm>
            <a:off x="1424463" y="1454250"/>
            <a:ext cx="28671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18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578" name="Google Shape;578;p16"/>
          <p:cNvSpPr txBox="1">
            <a:spLocks noGrp="1"/>
          </p:cNvSpPr>
          <p:nvPr>
            <p:ph type="subTitle" idx="1"/>
          </p:nvPr>
        </p:nvSpPr>
        <p:spPr>
          <a:xfrm>
            <a:off x="1424438" y="1892275"/>
            <a:ext cx="2867100" cy="84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SzPts val="1600"/>
              <a:buNone/>
              <a:defRPr/>
            </a:lvl9pPr>
          </a:lstStyle>
          <a:p>
            <a:endParaRPr/>
          </a:p>
        </p:txBody>
      </p:sp>
      <p:sp>
        <p:nvSpPr>
          <p:cNvPr id="579" name="Google Shape;579;p16"/>
          <p:cNvSpPr txBox="1">
            <a:spLocks noGrp="1"/>
          </p:cNvSpPr>
          <p:nvPr>
            <p:ph type="title" idx="3"/>
          </p:nvPr>
        </p:nvSpPr>
        <p:spPr>
          <a:xfrm>
            <a:off x="4852443" y="1454250"/>
            <a:ext cx="28671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1800">
                <a:solidFill>
                  <a:schemeClr val="lt2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580" name="Google Shape;580;p16"/>
          <p:cNvSpPr txBox="1">
            <a:spLocks noGrp="1"/>
          </p:cNvSpPr>
          <p:nvPr>
            <p:ph type="subTitle" idx="4"/>
          </p:nvPr>
        </p:nvSpPr>
        <p:spPr>
          <a:xfrm>
            <a:off x="4852413" y="1892275"/>
            <a:ext cx="2867100" cy="84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SzPts val="1600"/>
              <a:buNone/>
              <a:defRPr/>
            </a:lvl9pPr>
          </a:lstStyle>
          <a:p>
            <a:endParaRPr/>
          </a:p>
        </p:txBody>
      </p:sp>
      <p:sp>
        <p:nvSpPr>
          <p:cNvPr id="581" name="Google Shape;581;p16"/>
          <p:cNvSpPr txBox="1">
            <a:spLocks noGrp="1"/>
          </p:cNvSpPr>
          <p:nvPr>
            <p:ph type="title" idx="5"/>
          </p:nvPr>
        </p:nvSpPr>
        <p:spPr>
          <a:xfrm>
            <a:off x="1424463" y="3192450"/>
            <a:ext cx="28671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18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582" name="Google Shape;582;p16"/>
          <p:cNvSpPr txBox="1">
            <a:spLocks noGrp="1"/>
          </p:cNvSpPr>
          <p:nvPr>
            <p:ph type="subTitle" idx="6"/>
          </p:nvPr>
        </p:nvSpPr>
        <p:spPr>
          <a:xfrm>
            <a:off x="1424438" y="3630475"/>
            <a:ext cx="2867100" cy="84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SzPts val="1600"/>
              <a:buNone/>
              <a:defRPr/>
            </a:lvl9pPr>
          </a:lstStyle>
          <a:p>
            <a:endParaRPr/>
          </a:p>
        </p:txBody>
      </p:sp>
      <p:sp>
        <p:nvSpPr>
          <p:cNvPr id="583" name="Google Shape;583;p16"/>
          <p:cNvSpPr txBox="1">
            <a:spLocks noGrp="1"/>
          </p:cNvSpPr>
          <p:nvPr>
            <p:ph type="title" idx="7"/>
          </p:nvPr>
        </p:nvSpPr>
        <p:spPr>
          <a:xfrm>
            <a:off x="4852443" y="3192450"/>
            <a:ext cx="28671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1800">
                <a:solidFill>
                  <a:schemeClr val="lt2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584" name="Google Shape;584;p16"/>
          <p:cNvSpPr txBox="1">
            <a:spLocks noGrp="1"/>
          </p:cNvSpPr>
          <p:nvPr>
            <p:ph type="subTitle" idx="8"/>
          </p:nvPr>
        </p:nvSpPr>
        <p:spPr>
          <a:xfrm>
            <a:off x="4852413" y="3630475"/>
            <a:ext cx="2867100" cy="84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SzPts val="1600"/>
              <a:buNone/>
              <a:defRPr/>
            </a:lvl9pPr>
          </a:lstStyle>
          <a:p>
            <a:endParaRPr/>
          </a:p>
        </p:txBody>
      </p:sp>
      <p:sp>
        <p:nvSpPr>
          <p:cNvPr id="585" name="Google Shape;585;p16"/>
          <p:cNvSpPr/>
          <p:nvPr/>
        </p:nvSpPr>
        <p:spPr>
          <a:xfrm>
            <a:off x="8345750" y="3481650"/>
            <a:ext cx="3849600" cy="3849600"/>
          </a:xfrm>
          <a:prstGeom prst="ellipse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586" name="Google Shape;586;p16"/>
          <p:cNvGrpSpPr/>
          <p:nvPr/>
        </p:nvGrpSpPr>
        <p:grpSpPr>
          <a:xfrm rot="-5400000" flipH="1">
            <a:off x="8481307" y="3799553"/>
            <a:ext cx="993065" cy="993065"/>
            <a:chOff x="238125" y="2189800"/>
            <a:chExt cx="1119325" cy="1119325"/>
          </a:xfrm>
        </p:grpSpPr>
        <p:sp>
          <p:nvSpPr>
            <p:cNvPr id="587" name="Google Shape;587;p16"/>
            <p:cNvSpPr/>
            <p:nvPr/>
          </p:nvSpPr>
          <p:spPr>
            <a:xfrm>
              <a:off x="289900" y="2241600"/>
              <a:ext cx="267950" cy="267950"/>
            </a:xfrm>
            <a:custGeom>
              <a:avLst/>
              <a:gdLst/>
              <a:ahLst/>
              <a:cxnLst/>
              <a:rect l="l" t="t" r="r" b="b"/>
              <a:pathLst>
                <a:path w="10718" h="10718" extrusionOk="0">
                  <a:moveTo>
                    <a:pt x="10717" y="1"/>
                  </a:moveTo>
                  <a:lnTo>
                    <a:pt x="10717" y="1"/>
                  </a:lnTo>
                  <a:cubicBezTo>
                    <a:pt x="8382" y="1104"/>
                    <a:pt x="6257" y="2604"/>
                    <a:pt x="4431" y="4431"/>
                  </a:cubicBezTo>
                  <a:cubicBezTo>
                    <a:pt x="2604" y="6255"/>
                    <a:pt x="1106" y="8382"/>
                    <a:pt x="1" y="10717"/>
                  </a:cubicBezTo>
                  <a:lnTo>
                    <a:pt x="10717" y="1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" name="Google Shape;588;p16"/>
            <p:cNvSpPr/>
            <p:nvPr/>
          </p:nvSpPr>
          <p:spPr>
            <a:xfrm>
              <a:off x="238275" y="2189975"/>
              <a:ext cx="511350" cy="511375"/>
            </a:xfrm>
            <a:custGeom>
              <a:avLst/>
              <a:gdLst/>
              <a:ahLst/>
              <a:cxnLst/>
              <a:rect l="l" t="t" r="r" b="b"/>
              <a:pathLst>
                <a:path w="20454" h="20455" extrusionOk="0">
                  <a:moveTo>
                    <a:pt x="20453" y="1"/>
                  </a:moveTo>
                  <a:lnTo>
                    <a:pt x="20453" y="1"/>
                  </a:lnTo>
                  <a:cubicBezTo>
                    <a:pt x="19736" y="63"/>
                    <a:pt x="19023" y="158"/>
                    <a:pt x="18312" y="287"/>
                  </a:cubicBezTo>
                  <a:lnTo>
                    <a:pt x="289" y="18312"/>
                  </a:lnTo>
                  <a:cubicBezTo>
                    <a:pt x="159" y="19023"/>
                    <a:pt x="63" y="19736"/>
                    <a:pt x="1" y="20455"/>
                  </a:cubicBezTo>
                  <a:lnTo>
                    <a:pt x="20453" y="1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" name="Google Shape;589;p16"/>
            <p:cNvSpPr/>
            <p:nvPr/>
          </p:nvSpPr>
          <p:spPr>
            <a:xfrm>
              <a:off x="238125" y="2189800"/>
              <a:ext cx="646975" cy="646950"/>
            </a:xfrm>
            <a:custGeom>
              <a:avLst/>
              <a:gdLst/>
              <a:ahLst/>
              <a:cxnLst/>
              <a:rect l="l" t="t" r="r" b="b"/>
              <a:pathLst>
                <a:path w="25879" h="25878" extrusionOk="0">
                  <a:moveTo>
                    <a:pt x="24220" y="1"/>
                  </a:moveTo>
                  <a:lnTo>
                    <a:pt x="0" y="24221"/>
                  </a:lnTo>
                  <a:cubicBezTo>
                    <a:pt x="46" y="24774"/>
                    <a:pt x="111" y="25327"/>
                    <a:pt x="197" y="25877"/>
                  </a:cubicBezTo>
                  <a:lnTo>
                    <a:pt x="25878" y="197"/>
                  </a:lnTo>
                  <a:cubicBezTo>
                    <a:pt x="25328" y="111"/>
                    <a:pt x="24775" y="45"/>
                    <a:pt x="24220" y="1"/>
                  </a:cubicBez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" name="Google Shape;590;p16"/>
            <p:cNvSpPr/>
            <p:nvPr/>
          </p:nvSpPr>
          <p:spPr>
            <a:xfrm>
              <a:off x="260500" y="2212175"/>
              <a:ext cx="735575" cy="735575"/>
            </a:xfrm>
            <a:custGeom>
              <a:avLst/>
              <a:gdLst/>
              <a:ahLst/>
              <a:cxnLst/>
              <a:rect l="l" t="t" r="r" b="b"/>
              <a:pathLst>
                <a:path w="29423" h="29423" extrusionOk="0">
                  <a:moveTo>
                    <a:pt x="28037" y="0"/>
                  </a:moveTo>
                  <a:lnTo>
                    <a:pt x="1" y="28036"/>
                  </a:lnTo>
                  <a:cubicBezTo>
                    <a:pt x="143" y="28502"/>
                    <a:pt x="298" y="28964"/>
                    <a:pt x="470" y="29423"/>
                  </a:cubicBezTo>
                  <a:lnTo>
                    <a:pt x="29422" y="471"/>
                  </a:lnTo>
                  <a:cubicBezTo>
                    <a:pt x="28965" y="299"/>
                    <a:pt x="28503" y="142"/>
                    <a:pt x="28037" y="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" name="Google Shape;591;p16"/>
            <p:cNvSpPr/>
            <p:nvPr/>
          </p:nvSpPr>
          <p:spPr>
            <a:xfrm>
              <a:off x="301425" y="2253075"/>
              <a:ext cx="788775" cy="788825"/>
            </a:xfrm>
            <a:custGeom>
              <a:avLst/>
              <a:gdLst/>
              <a:ahLst/>
              <a:cxnLst/>
              <a:rect l="l" t="t" r="r" b="b"/>
              <a:pathLst>
                <a:path w="31551" h="31553" extrusionOk="0">
                  <a:moveTo>
                    <a:pt x="30370" y="1"/>
                  </a:moveTo>
                  <a:lnTo>
                    <a:pt x="0" y="30371"/>
                  </a:lnTo>
                  <a:cubicBezTo>
                    <a:pt x="211" y="30770"/>
                    <a:pt x="436" y="31164"/>
                    <a:pt x="675" y="31552"/>
                  </a:cubicBezTo>
                  <a:lnTo>
                    <a:pt x="31551" y="675"/>
                  </a:lnTo>
                  <a:cubicBezTo>
                    <a:pt x="31163" y="437"/>
                    <a:pt x="30770" y="213"/>
                    <a:pt x="30370" y="1"/>
                  </a:cubicBez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" name="Google Shape;592;p16"/>
            <p:cNvSpPr/>
            <p:nvPr/>
          </p:nvSpPr>
          <p:spPr>
            <a:xfrm>
              <a:off x="356800" y="2308450"/>
              <a:ext cx="813925" cy="813925"/>
            </a:xfrm>
            <a:custGeom>
              <a:avLst/>
              <a:gdLst/>
              <a:ahLst/>
              <a:cxnLst/>
              <a:rect l="l" t="t" r="r" b="b"/>
              <a:pathLst>
                <a:path w="32557" h="32557" extrusionOk="0">
                  <a:moveTo>
                    <a:pt x="31547" y="1"/>
                  </a:moveTo>
                  <a:lnTo>
                    <a:pt x="0" y="31549"/>
                  </a:lnTo>
                  <a:cubicBezTo>
                    <a:pt x="270" y="31890"/>
                    <a:pt x="552" y="32227"/>
                    <a:pt x="846" y="32556"/>
                  </a:cubicBezTo>
                  <a:lnTo>
                    <a:pt x="32556" y="848"/>
                  </a:lnTo>
                  <a:cubicBezTo>
                    <a:pt x="32226" y="554"/>
                    <a:pt x="31890" y="272"/>
                    <a:pt x="31547" y="1"/>
                  </a:cubicBez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" name="Google Shape;593;p16"/>
            <p:cNvSpPr/>
            <p:nvPr/>
          </p:nvSpPr>
          <p:spPr>
            <a:xfrm>
              <a:off x="424825" y="2376525"/>
              <a:ext cx="813925" cy="813925"/>
            </a:xfrm>
            <a:custGeom>
              <a:avLst/>
              <a:gdLst/>
              <a:ahLst/>
              <a:cxnLst/>
              <a:rect l="l" t="t" r="r" b="b"/>
              <a:pathLst>
                <a:path w="32557" h="32557" extrusionOk="0">
                  <a:moveTo>
                    <a:pt x="31711" y="1"/>
                  </a:moveTo>
                  <a:lnTo>
                    <a:pt x="1" y="31709"/>
                  </a:lnTo>
                  <a:cubicBezTo>
                    <a:pt x="331" y="32003"/>
                    <a:pt x="667" y="32286"/>
                    <a:pt x="1010" y="32556"/>
                  </a:cubicBezTo>
                  <a:lnTo>
                    <a:pt x="32557" y="1010"/>
                  </a:lnTo>
                  <a:cubicBezTo>
                    <a:pt x="32287" y="667"/>
                    <a:pt x="32005" y="330"/>
                    <a:pt x="31711" y="1"/>
                  </a:cubicBez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" name="Google Shape;594;p16"/>
            <p:cNvSpPr/>
            <p:nvPr/>
          </p:nvSpPr>
          <p:spPr>
            <a:xfrm>
              <a:off x="505350" y="2457000"/>
              <a:ext cx="788775" cy="788875"/>
            </a:xfrm>
            <a:custGeom>
              <a:avLst/>
              <a:gdLst/>
              <a:ahLst/>
              <a:cxnLst/>
              <a:rect l="l" t="t" r="r" b="b"/>
              <a:pathLst>
                <a:path w="31551" h="31555" extrusionOk="0">
                  <a:moveTo>
                    <a:pt x="30878" y="1"/>
                  </a:moveTo>
                  <a:lnTo>
                    <a:pt x="0" y="30879"/>
                  </a:lnTo>
                  <a:cubicBezTo>
                    <a:pt x="388" y="31116"/>
                    <a:pt x="782" y="31340"/>
                    <a:pt x="1181" y="31554"/>
                  </a:cubicBezTo>
                  <a:lnTo>
                    <a:pt x="31551" y="1182"/>
                  </a:lnTo>
                  <a:cubicBezTo>
                    <a:pt x="31340" y="783"/>
                    <a:pt x="31116" y="389"/>
                    <a:pt x="30878" y="1"/>
                  </a:cubicBez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" name="Google Shape;595;p16"/>
            <p:cNvSpPr/>
            <p:nvPr/>
          </p:nvSpPr>
          <p:spPr>
            <a:xfrm>
              <a:off x="599500" y="2551175"/>
              <a:ext cx="735550" cy="735550"/>
            </a:xfrm>
            <a:custGeom>
              <a:avLst/>
              <a:gdLst/>
              <a:ahLst/>
              <a:cxnLst/>
              <a:rect l="l" t="t" r="r" b="b"/>
              <a:pathLst>
                <a:path w="29422" h="29422" extrusionOk="0">
                  <a:moveTo>
                    <a:pt x="28952" y="1"/>
                  </a:moveTo>
                  <a:lnTo>
                    <a:pt x="0" y="28953"/>
                  </a:lnTo>
                  <a:cubicBezTo>
                    <a:pt x="457" y="29125"/>
                    <a:pt x="919" y="29282"/>
                    <a:pt x="1385" y="29422"/>
                  </a:cubicBezTo>
                  <a:lnTo>
                    <a:pt x="29421" y="1386"/>
                  </a:lnTo>
                  <a:cubicBezTo>
                    <a:pt x="29281" y="920"/>
                    <a:pt x="29124" y="458"/>
                    <a:pt x="28952" y="1"/>
                  </a:cubicBez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" name="Google Shape;596;p16"/>
            <p:cNvSpPr/>
            <p:nvPr/>
          </p:nvSpPr>
          <p:spPr>
            <a:xfrm>
              <a:off x="710450" y="2662150"/>
              <a:ext cx="647000" cy="646975"/>
            </a:xfrm>
            <a:custGeom>
              <a:avLst/>
              <a:gdLst/>
              <a:ahLst/>
              <a:cxnLst/>
              <a:rect l="l" t="t" r="r" b="b"/>
              <a:pathLst>
                <a:path w="25880" h="25879" extrusionOk="0">
                  <a:moveTo>
                    <a:pt x="25682" y="1"/>
                  </a:moveTo>
                  <a:lnTo>
                    <a:pt x="1" y="25681"/>
                  </a:lnTo>
                  <a:cubicBezTo>
                    <a:pt x="552" y="25767"/>
                    <a:pt x="1104" y="25833"/>
                    <a:pt x="1659" y="25879"/>
                  </a:cubicBezTo>
                  <a:lnTo>
                    <a:pt x="25879" y="1659"/>
                  </a:lnTo>
                  <a:cubicBezTo>
                    <a:pt x="25834" y="1104"/>
                    <a:pt x="25768" y="551"/>
                    <a:pt x="25682" y="1"/>
                  </a:cubicBez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" name="Google Shape;597;p16"/>
            <p:cNvSpPr/>
            <p:nvPr/>
          </p:nvSpPr>
          <p:spPr>
            <a:xfrm>
              <a:off x="845925" y="2797575"/>
              <a:ext cx="511350" cy="511350"/>
            </a:xfrm>
            <a:custGeom>
              <a:avLst/>
              <a:gdLst/>
              <a:ahLst/>
              <a:cxnLst/>
              <a:rect l="l" t="t" r="r" b="b"/>
              <a:pathLst>
                <a:path w="20454" h="20454" extrusionOk="0">
                  <a:moveTo>
                    <a:pt x="20453" y="1"/>
                  </a:moveTo>
                  <a:lnTo>
                    <a:pt x="1" y="20453"/>
                  </a:lnTo>
                  <a:cubicBezTo>
                    <a:pt x="718" y="20391"/>
                    <a:pt x="1431" y="20297"/>
                    <a:pt x="2142" y="20167"/>
                  </a:cubicBezTo>
                  <a:lnTo>
                    <a:pt x="20165" y="2142"/>
                  </a:lnTo>
                  <a:cubicBezTo>
                    <a:pt x="20295" y="1433"/>
                    <a:pt x="20391" y="720"/>
                    <a:pt x="20453" y="1"/>
                  </a:cubicBez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" name="Google Shape;598;p16"/>
            <p:cNvSpPr/>
            <p:nvPr/>
          </p:nvSpPr>
          <p:spPr>
            <a:xfrm>
              <a:off x="1037700" y="2989400"/>
              <a:ext cx="267950" cy="267900"/>
            </a:xfrm>
            <a:custGeom>
              <a:avLst/>
              <a:gdLst/>
              <a:ahLst/>
              <a:cxnLst/>
              <a:rect l="l" t="t" r="r" b="b"/>
              <a:pathLst>
                <a:path w="10718" h="10716" extrusionOk="0">
                  <a:moveTo>
                    <a:pt x="10717" y="1"/>
                  </a:moveTo>
                  <a:lnTo>
                    <a:pt x="1" y="10715"/>
                  </a:lnTo>
                  <a:cubicBezTo>
                    <a:pt x="4703" y="8488"/>
                    <a:pt x="8489" y="4703"/>
                    <a:pt x="10717" y="1"/>
                  </a:cubicBez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99" name="Google Shape;599;p16"/>
          <p:cNvGrpSpPr/>
          <p:nvPr/>
        </p:nvGrpSpPr>
        <p:grpSpPr>
          <a:xfrm rot="-5400000" flipH="1">
            <a:off x="8423993" y="-1056069"/>
            <a:ext cx="1756445" cy="1756445"/>
            <a:chOff x="238125" y="2189800"/>
            <a:chExt cx="1119325" cy="1119325"/>
          </a:xfrm>
        </p:grpSpPr>
        <p:sp>
          <p:nvSpPr>
            <p:cNvPr id="600" name="Google Shape;600;p16"/>
            <p:cNvSpPr/>
            <p:nvPr/>
          </p:nvSpPr>
          <p:spPr>
            <a:xfrm>
              <a:off x="289900" y="2241600"/>
              <a:ext cx="267950" cy="267950"/>
            </a:xfrm>
            <a:custGeom>
              <a:avLst/>
              <a:gdLst/>
              <a:ahLst/>
              <a:cxnLst/>
              <a:rect l="l" t="t" r="r" b="b"/>
              <a:pathLst>
                <a:path w="10718" h="10718" extrusionOk="0">
                  <a:moveTo>
                    <a:pt x="10717" y="1"/>
                  </a:moveTo>
                  <a:lnTo>
                    <a:pt x="10717" y="1"/>
                  </a:lnTo>
                  <a:cubicBezTo>
                    <a:pt x="8382" y="1104"/>
                    <a:pt x="6257" y="2604"/>
                    <a:pt x="4431" y="4431"/>
                  </a:cubicBezTo>
                  <a:cubicBezTo>
                    <a:pt x="2604" y="6255"/>
                    <a:pt x="1106" y="8382"/>
                    <a:pt x="1" y="10717"/>
                  </a:cubicBezTo>
                  <a:lnTo>
                    <a:pt x="10717" y="1"/>
                  </a:ln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" name="Google Shape;601;p16"/>
            <p:cNvSpPr/>
            <p:nvPr/>
          </p:nvSpPr>
          <p:spPr>
            <a:xfrm>
              <a:off x="238275" y="2189975"/>
              <a:ext cx="511350" cy="511375"/>
            </a:xfrm>
            <a:custGeom>
              <a:avLst/>
              <a:gdLst/>
              <a:ahLst/>
              <a:cxnLst/>
              <a:rect l="l" t="t" r="r" b="b"/>
              <a:pathLst>
                <a:path w="20454" h="20455" extrusionOk="0">
                  <a:moveTo>
                    <a:pt x="20453" y="1"/>
                  </a:moveTo>
                  <a:lnTo>
                    <a:pt x="20453" y="1"/>
                  </a:lnTo>
                  <a:cubicBezTo>
                    <a:pt x="19736" y="63"/>
                    <a:pt x="19023" y="158"/>
                    <a:pt x="18312" y="287"/>
                  </a:cubicBezTo>
                  <a:lnTo>
                    <a:pt x="289" y="18312"/>
                  </a:lnTo>
                  <a:cubicBezTo>
                    <a:pt x="159" y="19023"/>
                    <a:pt x="63" y="19736"/>
                    <a:pt x="1" y="20455"/>
                  </a:cubicBezTo>
                  <a:lnTo>
                    <a:pt x="20453" y="1"/>
                  </a:ln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" name="Google Shape;602;p16"/>
            <p:cNvSpPr/>
            <p:nvPr/>
          </p:nvSpPr>
          <p:spPr>
            <a:xfrm>
              <a:off x="238125" y="2189800"/>
              <a:ext cx="646975" cy="646950"/>
            </a:xfrm>
            <a:custGeom>
              <a:avLst/>
              <a:gdLst/>
              <a:ahLst/>
              <a:cxnLst/>
              <a:rect l="l" t="t" r="r" b="b"/>
              <a:pathLst>
                <a:path w="25879" h="25878" extrusionOk="0">
                  <a:moveTo>
                    <a:pt x="24220" y="1"/>
                  </a:moveTo>
                  <a:lnTo>
                    <a:pt x="0" y="24221"/>
                  </a:lnTo>
                  <a:cubicBezTo>
                    <a:pt x="46" y="24774"/>
                    <a:pt x="111" y="25327"/>
                    <a:pt x="197" y="25877"/>
                  </a:cubicBezTo>
                  <a:lnTo>
                    <a:pt x="25878" y="197"/>
                  </a:lnTo>
                  <a:cubicBezTo>
                    <a:pt x="25328" y="111"/>
                    <a:pt x="24775" y="45"/>
                    <a:pt x="24220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" name="Google Shape;603;p16"/>
            <p:cNvSpPr/>
            <p:nvPr/>
          </p:nvSpPr>
          <p:spPr>
            <a:xfrm>
              <a:off x="260500" y="2212175"/>
              <a:ext cx="735575" cy="735575"/>
            </a:xfrm>
            <a:custGeom>
              <a:avLst/>
              <a:gdLst/>
              <a:ahLst/>
              <a:cxnLst/>
              <a:rect l="l" t="t" r="r" b="b"/>
              <a:pathLst>
                <a:path w="29423" h="29423" extrusionOk="0">
                  <a:moveTo>
                    <a:pt x="28037" y="0"/>
                  </a:moveTo>
                  <a:lnTo>
                    <a:pt x="1" y="28036"/>
                  </a:lnTo>
                  <a:cubicBezTo>
                    <a:pt x="143" y="28502"/>
                    <a:pt x="298" y="28964"/>
                    <a:pt x="470" y="29423"/>
                  </a:cubicBezTo>
                  <a:lnTo>
                    <a:pt x="29422" y="471"/>
                  </a:lnTo>
                  <a:cubicBezTo>
                    <a:pt x="28965" y="299"/>
                    <a:pt x="28503" y="142"/>
                    <a:pt x="28037" y="0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" name="Google Shape;604;p16"/>
            <p:cNvSpPr/>
            <p:nvPr/>
          </p:nvSpPr>
          <p:spPr>
            <a:xfrm>
              <a:off x="301425" y="2253075"/>
              <a:ext cx="788775" cy="788825"/>
            </a:xfrm>
            <a:custGeom>
              <a:avLst/>
              <a:gdLst/>
              <a:ahLst/>
              <a:cxnLst/>
              <a:rect l="l" t="t" r="r" b="b"/>
              <a:pathLst>
                <a:path w="31551" h="31553" extrusionOk="0">
                  <a:moveTo>
                    <a:pt x="30370" y="1"/>
                  </a:moveTo>
                  <a:lnTo>
                    <a:pt x="0" y="30371"/>
                  </a:lnTo>
                  <a:cubicBezTo>
                    <a:pt x="211" y="30770"/>
                    <a:pt x="436" y="31164"/>
                    <a:pt x="675" y="31552"/>
                  </a:cubicBezTo>
                  <a:lnTo>
                    <a:pt x="31551" y="675"/>
                  </a:lnTo>
                  <a:cubicBezTo>
                    <a:pt x="31163" y="437"/>
                    <a:pt x="30770" y="213"/>
                    <a:pt x="30370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" name="Google Shape;605;p16"/>
            <p:cNvSpPr/>
            <p:nvPr/>
          </p:nvSpPr>
          <p:spPr>
            <a:xfrm>
              <a:off x="356800" y="2308450"/>
              <a:ext cx="813925" cy="813925"/>
            </a:xfrm>
            <a:custGeom>
              <a:avLst/>
              <a:gdLst/>
              <a:ahLst/>
              <a:cxnLst/>
              <a:rect l="l" t="t" r="r" b="b"/>
              <a:pathLst>
                <a:path w="32557" h="32557" extrusionOk="0">
                  <a:moveTo>
                    <a:pt x="31547" y="1"/>
                  </a:moveTo>
                  <a:lnTo>
                    <a:pt x="0" y="31549"/>
                  </a:lnTo>
                  <a:cubicBezTo>
                    <a:pt x="270" y="31890"/>
                    <a:pt x="552" y="32227"/>
                    <a:pt x="846" y="32556"/>
                  </a:cubicBezTo>
                  <a:lnTo>
                    <a:pt x="32556" y="848"/>
                  </a:lnTo>
                  <a:cubicBezTo>
                    <a:pt x="32226" y="554"/>
                    <a:pt x="31890" y="272"/>
                    <a:pt x="31547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" name="Google Shape;606;p16"/>
            <p:cNvSpPr/>
            <p:nvPr/>
          </p:nvSpPr>
          <p:spPr>
            <a:xfrm>
              <a:off x="424825" y="2376525"/>
              <a:ext cx="813925" cy="813925"/>
            </a:xfrm>
            <a:custGeom>
              <a:avLst/>
              <a:gdLst/>
              <a:ahLst/>
              <a:cxnLst/>
              <a:rect l="l" t="t" r="r" b="b"/>
              <a:pathLst>
                <a:path w="32557" h="32557" extrusionOk="0">
                  <a:moveTo>
                    <a:pt x="31711" y="1"/>
                  </a:moveTo>
                  <a:lnTo>
                    <a:pt x="1" y="31709"/>
                  </a:lnTo>
                  <a:cubicBezTo>
                    <a:pt x="331" y="32003"/>
                    <a:pt x="667" y="32286"/>
                    <a:pt x="1010" y="32556"/>
                  </a:cubicBezTo>
                  <a:lnTo>
                    <a:pt x="32557" y="1010"/>
                  </a:lnTo>
                  <a:cubicBezTo>
                    <a:pt x="32287" y="667"/>
                    <a:pt x="32005" y="330"/>
                    <a:pt x="31711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" name="Google Shape;607;p16"/>
            <p:cNvSpPr/>
            <p:nvPr/>
          </p:nvSpPr>
          <p:spPr>
            <a:xfrm>
              <a:off x="505350" y="2457000"/>
              <a:ext cx="788775" cy="788875"/>
            </a:xfrm>
            <a:custGeom>
              <a:avLst/>
              <a:gdLst/>
              <a:ahLst/>
              <a:cxnLst/>
              <a:rect l="l" t="t" r="r" b="b"/>
              <a:pathLst>
                <a:path w="31551" h="31555" extrusionOk="0">
                  <a:moveTo>
                    <a:pt x="30878" y="1"/>
                  </a:moveTo>
                  <a:lnTo>
                    <a:pt x="0" y="30879"/>
                  </a:lnTo>
                  <a:cubicBezTo>
                    <a:pt x="388" y="31116"/>
                    <a:pt x="782" y="31340"/>
                    <a:pt x="1181" y="31554"/>
                  </a:cubicBezTo>
                  <a:lnTo>
                    <a:pt x="31551" y="1182"/>
                  </a:lnTo>
                  <a:cubicBezTo>
                    <a:pt x="31340" y="783"/>
                    <a:pt x="31116" y="389"/>
                    <a:pt x="30878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" name="Google Shape;608;p16"/>
            <p:cNvSpPr/>
            <p:nvPr/>
          </p:nvSpPr>
          <p:spPr>
            <a:xfrm>
              <a:off x="599500" y="2551175"/>
              <a:ext cx="735550" cy="735550"/>
            </a:xfrm>
            <a:custGeom>
              <a:avLst/>
              <a:gdLst/>
              <a:ahLst/>
              <a:cxnLst/>
              <a:rect l="l" t="t" r="r" b="b"/>
              <a:pathLst>
                <a:path w="29422" h="29422" extrusionOk="0">
                  <a:moveTo>
                    <a:pt x="28952" y="1"/>
                  </a:moveTo>
                  <a:lnTo>
                    <a:pt x="0" y="28953"/>
                  </a:lnTo>
                  <a:cubicBezTo>
                    <a:pt x="457" y="29125"/>
                    <a:pt x="919" y="29282"/>
                    <a:pt x="1385" y="29422"/>
                  </a:cubicBezTo>
                  <a:lnTo>
                    <a:pt x="29421" y="1386"/>
                  </a:lnTo>
                  <a:cubicBezTo>
                    <a:pt x="29281" y="920"/>
                    <a:pt x="29124" y="458"/>
                    <a:pt x="28952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" name="Google Shape;609;p16"/>
            <p:cNvSpPr/>
            <p:nvPr/>
          </p:nvSpPr>
          <p:spPr>
            <a:xfrm>
              <a:off x="710450" y="2662150"/>
              <a:ext cx="647000" cy="646975"/>
            </a:xfrm>
            <a:custGeom>
              <a:avLst/>
              <a:gdLst/>
              <a:ahLst/>
              <a:cxnLst/>
              <a:rect l="l" t="t" r="r" b="b"/>
              <a:pathLst>
                <a:path w="25880" h="25879" extrusionOk="0">
                  <a:moveTo>
                    <a:pt x="25682" y="1"/>
                  </a:moveTo>
                  <a:lnTo>
                    <a:pt x="1" y="25681"/>
                  </a:lnTo>
                  <a:cubicBezTo>
                    <a:pt x="552" y="25767"/>
                    <a:pt x="1104" y="25833"/>
                    <a:pt x="1659" y="25879"/>
                  </a:cubicBezTo>
                  <a:lnTo>
                    <a:pt x="25879" y="1659"/>
                  </a:lnTo>
                  <a:cubicBezTo>
                    <a:pt x="25834" y="1104"/>
                    <a:pt x="25768" y="551"/>
                    <a:pt x="25682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" name="Google Shape;610;p16"/>
            <p:cNvSpPr/>
            <p:nvPr/>
          </p:nvSpPr>
          <p:spPr>
            <a:xfrm>
              <a:off x="845925" y="2797575"/>
              <a:ext cx="511350" cy="511350"/>
            </a:xfrm>
            <a:custGeom>
              <a:avLst/>
              <a:gdLst/>
              <a:ahLst/>
              <a:cxnLst/>
              <a:rect l="l" t="t" r="r" b="b"/>
              <a:pathLst>
                <a:path w="20454" h="20454" extrusionOk="0">
                  <a:moveTo>
                    <a:pt x="20453" y="1"/>
                  </a:moveTo>
                  <a:lnTo>
                    <a:pt x="1" y="20453"/>
                  </a:lnTo>
                  <a:cubicBezTo>
                    <a:pt x="718" y="20391"/>
                    <a:pt x="1431" y="20297"/>
                    <a:pt x="2142" y="20167"/>
                  </a:cubicBezTo>
                  <a:lnTo>
                    <a:pt x="20165" y="2142"/>
                  </a:lnTo>
                  <a:cubicBezTo>
                    <a:pt x="20295" y="1433"/>
                    <a:pt x="20391" y="720"/>
                    <a:pt x="20453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" name="Google Shape;611;p16"/>
            <p:cNvSpPr/>
            <p:nvPr/>
          </p:nvSpPr>
          <p:spPr>
            <a:xfrm>
              <a:off x="1037700" y="2989400"/>
              <a:ext cx="267950" cy="267900"/>
            </a:xfrm>
            <a:custGeom>
              <a:avLst/>
              <a:gdLst/>
              <a:ahLst/>
              <a:cxnLst/>
              <a:rect l="l" t="t" r="r" b="b"/>
              <a:pathLst>
                <a:path w="10718" h="10716" extrusionOk="0">
                  <a:moveTo>
                    <a:pt x="10717" y="1"/>
                  </a:moveTo>
                  <a:lnTo>
                    <a:pt x="1" y="10715"/>
                  </a:lnTo>
                  <a:cubicBezTo>
                    <a:pt x="4703" y="8488"/>
                    <a:pt x="8489" y="4703"/>
                    <a:pt x="10717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12" name="Google Shape;612;p16"/>
          <p:cNvGrpSpPr/>
          <p:nvPr/>
        </p:nvGrpSpPr>
        <p:grpSpPr>
          <a:xfrm flipH="1">
            <a:off x="314088" y="4706293"/>
            <a:ext cx="192998" cy="192646"/>
            <a:chOff x="3510300" y="2634425"/>
            <a:chExt cx="576975" cy="575750"/>
          </a:xfrm>
        </p:grpSpPr>
        <p:sp>
          <p:nvSpPr>
            <p:cNvPr id="613" name="Google Shape;613;p16"/>
            <p:cNvSpPr/>
            <p:nvPr/>
          </p:nvSpPr>
          <p:spPr>
            <a:xfrm>
              <a:off x="3743325" y="2634425"/>
              <a:ext cx="110925" cy="575750"/>
            </a:xfrm>
            <a:custGeom>
              <a:avLst/>
              <a:gdLst/>
              <a:ahLst/>
              <a:cxnLst/>
              <a:rect l="l" t="t" r="r" b="b"/>
              <a:pathLst>
                <a:path w="4437" h="23030" extrusionOk="0">
                  <a:moveTo>
                    <a:pt x="2193" y="1"/>
                  </a:moveTo>
                  <a:cubicBezTo>
                    <a:pt x="997" y="1"/>
                    <a:pt x="0" y="998"/>
                    <a:pt x="0" y="2194"/>
                  </a:cubicBezTo>
                  <a:lnTo>
                    <a:pt x="0" y="20786"/>
                  </a:lnTo>
                  <a:cubicBezTo>
                    <a:pt x="0" y="22032"/>
                    <a:pt x="997" y="23029"/>
                    <a:pt x="2193" y="23029"/>
                  </a:cubicBezTo>
                  <a:cubicBezTo>
                    <a:pt x="3440" y="23029"/>
                    <a:pt x="4437" y="22032"/>
                    <a:pt x="4437" y="20786"/>
                  </a:cubicBezTo>
                  <a:lnTo>
                    <a:pt x="4437" y="2194"/>
                  </a:lnTo>
                  <a:cubicBezTo>
                    <a:pt x="4437" y="998"/>
                    <a:pt x="3440" y="1"/>
                    <a:pt x="2193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" name="Google Shape;614;p16"/>
            <p:cNvSpPr/>
            <p:nvPr/>
          </p:nvSpPr>
          <p:spPr>
            <a:xfrm>
              <a:off x="3510300" y="2866200"/>
              <a:ext cx="576975" cy="112175"/>
            </a:xfrm>
            <a:custGeom>
              <a:avLst/>
              <a:gdLst/>
              <a:ahLst/>
              <a:cxnLst/>
              <a:rect l="l" t="t" r="r" b="b"/>
              <a:pathLst>
                <a:path w="23079" h="4487" extrusionOk="0">
                  <a:moveTo>
                    <a:pt x="2243" y="1"/>
                  </a:moveTo>
                  <a:cubicBezTo>
                    <a:pt x="997" y="1"/>
                    <a:pt x="0" y="998"/>
                    <a:pt x="0" y="2244"/>
                  </a:cubicBezTo>
                  <a:cubicBezTo>
                    <a:pt x="0" y="3440"/>
                    <a:pt x="997" y="4437"/>
                    <a:pt x="2243" y="4487"/>
                  </a:cubicBezTo>
                  <a:lnTo>
                    <a:pt x="20836" y="4487"/>
                  </a:lnTo>
                  <a:cubicBezTo>
                    <a:pt x="22082" y="4437"/>
                    <a:pt x="23079" y="3440"/>
                    <a:pt x="23079" y="2244"/>
                  </a:cubicBezTo>
                  <a:cubicBezTo>
                    <a:pt x="23029" y="998"/>
                    <a:pt x="22032" y="1"/>
                    <a:pt x="20836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15" name="Google Shape;615;p16"/>
          <p:cNvGrpSpPr/>
          <p:nvPr/>
        </p:nvGrpSpPr>
        <p:grpSpPr>
          <a:xfrm flipH="1">
            <a:off x="97068" y="4354287"/>
            <a:ext cx="352705" cy="352014"/>
            <a:chOff x="3510300" y="2634425"/>
            <a:chExt cx="576975" cy="575750"/>
          </a:xfrm>
        </p:grpSpPr>
        <p:sp>
          <p:nvSpPr>
            <p:cNvPr id="616" name="Google Shape;616;p16"/>
            <p:cNvSpPr/>
            <p:nvPr/>
          </p:nvSpPr>
          <p:spPr>
            <a:xfrm>
              <a:off x="3743325" y="2634425"/>
              <a:ext cx="110925" cy="575750"/>
            </a:xfrm>
            <a:custGeom>
              <a:avLst/>
              <a:gdLst/>
              <a:ahLst/>
              <a:cxnLst/>
              <a:rect l="l" t="t" r="r" b="b"/>
              <a:pathLst>
                <a:path w="4437" h="23030" extrusionOk="0">
                  <a:moveTo>
                    <a:pt x="2193" y="1"/>
                  </a:moveTo>
                  <a:cubicBezTo>
                    <a:pt x="997" y="1"/>
                    <a:pt x="0" y="998"/>
                    <a:pt x="0" y="2194"/>
                  </a:cubicBezTo>
                  <a:lnTo>
                    <a:pt x="0" y="20786"/>
                  </a:lnTo>
                  <a:cubicBezTo>
                    <a:pt x="0" y="22032"/>
                    <a:pt x="997" y="23029"/>
                    <a:pt x="2193" y="23029"/>
                  </a:cubicBezTo>
                  <a:cubicBezTo>
                    <a:pt x="3440" y="23029"/>
                    <a:pt x="4437" y="22032"/>
                    <a:pt x="4437" y="20786"/>
                  </a:cubicBezTo>
                  <a:lnTo>
                    <a:pt x="4437" y="2194"/>
                  </a:lnTo>
                  <a:cubicBezTo>
                    <a:pt x="4437" y="998"/>
                    <a:pt x="3440" y="1"/>
                    <a:pt x="2193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" name="Google Shape;617;p16"/>
            <p:cNvSpPr/>
            <p:nvPr/>
          </p:nvSpPr>
          <p:spPr>
            <a:xfrm>
              <a:off x="3510300" y="2866200"/>
              <a:ext cx="576975" cy="112175"/>
            </a:xfrm>
            <a:custGeom>
              <a:avLst/>
              <a:gdLst/>
              <a:ahLst/>
              <a:cxnLst/>
              <a:rect l="l" t="t" r="r" b="b"/>
              <a:pathLst>
                <a:path w="23079" h="4487" extrusionOk="0">
                  <a:moveTo>
                    <a:pt x="2243" y="1"/>
                  </a:moveTo>
                  <a:cubicBezTo>
                    <a:pt x="997" y="1"/>
                    <a:pt x="0" y="998"/>
                    <a:pt x="0" y="2244"/>
                  </a:cubicBezTo>
                  <a:cubicBezTo>
                    <a:pt x="0" y="3440"/>
                    <a:pt x="997" y="4437"/>
                    <a:pt x="2243" y="4487"/>
                  </a:cubicBezTo>
                  <a:lnTo>
                    <a:pt x="20836" y="4487"/>
                  </a:lnTo>
                  <a:cubicBezTo>
                    <a:pt x="22082" y="4437"/>
                    <a:pt x="23079" y="3440"/>
                    <a:pt x="23079" y="2244"/>
                  </a:cubicBezTo>
                  <a:cubicBezTo>
                    <a:pt x="23029" y="998"/>
                    <a:pt x="22032" y="1"/>
                    <a:pt x="20836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357518453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text">
  <p:cSld name="Title and text">
    <p:spTree>
      <p:nvGrpSpPr>
        <p:cNvPr id="1" name="Shape 105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59" name="Google Shape;1059;p24"/>
          <p:cNvSpPr txBox="1">
            <a:spLocks noGrp="1"/>
          </p:cNvSpPr>
          <p:nvPr>
            <p:ph type="title"/>
          </p:nvPr>
        </p:nvSpPr>
        <p:spPr>
          <a:xfrm>
            <a:off x="2642550" y="1641875"/>
            <a:ext cx="3858900" cy="5664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1060" name="Google Shape;1060;p24"/>
          <p:cNvSpPr txBox="1">
            <a:spLocks noGrp="1"/>
          </p:cNvSpPr>
          <p:nvPr>
            <p:ph type="subTitle" idx="1"/>
          </p:nvPr>
        </p:nvSpPr>
        <p:spPr>
          <a:xfrm>
            <a:off x="2465550" y="2256625"/>
            <a:ext cx="4212900" cy="14676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6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SzPts val="1600"/>
              <a:buNone/>
              <a:defRPr/>
            </a:lvl9pPr>
          </a:lstStyle>
          <a:p>
            <a:endParaRPr/>
          </a:p>
        </p:txBody>
      </p:sp>
      <p:sp>
        <p:nvSpPr>
          <p:cNvPr id="1061" name="Google Shape;1061;p24"/>
          <p:cNvSpPr/>
          <p:nvPr/>
        </p:nvSpPr>
        <p:spPr>
          <a:xfrm flipH="1">
            <a:off x="7243499" y="-1748375"/>
            <a:ext cx="3502800" cy="3502800"/>
          </a:xfrm>
          <a:prstGeom prst="ellipse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062" name="Google Shape;1062;p24"/>
          <p:cNvGrpSpPr/>
          <p:nvPr/>
        </p:nvGrpSpPr>
        <p:grpSpPr>
          <a:xfrm rot="-5400000" flipH="1">
            <a:off x="8376592" y="1318780"/>
            <a:ext cx="713346" cy="713346"/>
            <a:chOff x="238125" y="2189800"/>
            <a:chExt cx="1119325" cy="1119325"/>
          </a:xfrm>
        </p:grpSpPr>
        <p:sp>
          <p:nvSpPr>
            <p:cNvPr id="1063" name="Google Shape;1063;p24"/>
            <p:cNvSpPr/>
            <p:nvPr/>
          </p:nvSpPr>
          <p:spPr>
            <a:xfrm>
              <a:off x="289900" y="2241600"/>
              <a:ext cx="267950" cy="267950"/>
            </a:xfrm>
            <a:custGeom>
              <a:avLst/>
              <a:gdLst/>
              <a:ahLst/>
              <a:cxnLst/>
              <a:rect l="l" t="t" r="r" b="b"/>
              <a:pathLst>
                <a:path w="10718" h="10718" extrusionOk="0">
                  <a:moveTo>
                    <a:pt x="10717" y="1"/>
                  </a:moveTo>
                  <a:lnTo>
                    <a:pt x="10717" y="1"/>
                  </a:lnTo>
                  <a:cubicBezTo>
                    <a:pt x="8382" y="1104"/>
                    <a:pt x="6257" y="2604"/>
                    <a:pt x="4431" y="4431"/>
                  </a:cubicBezTo>
                  <a:cubicBezTo>
                    <a:pt x="2604" y="6255"/>
                    <a:pt x="1106" y="8382"/>
                    <a:pt x="1" y="10717"/>
                  </a:cubicBezTo>
                  <a:lnTo>
                    <a:pt x="10717" y="1"/>
                  </a:lnTo>
                  <a:close/>
                </a:path>
              </a:pathLst>
            </a:custGeom>
            <a:solidFill>
              <a:srgbClr val="F9B233"/>
            </a:solidFill>
            <a:ln w="9525" cap="flat" cmpd="sng">
              <a:solidFill>
                <a:srgbClr val="F9B23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4" name="Google Shape;1064;p24"/>
            <p:cNvSpPr/>
            <p:nvPr/>
          </p:nvSpPr>
          <p:spPr>
            <a:xfrm>
              <a:off x="238275" y="2189975"/>
              <a:ext cx="511350" cy="511375"/>
            </a:xfrm>
            <a:custGeom>
              <a:avLst/>
              <a:gdLst/>
              <a:ahLst/>
              <a:cxnLst/>
              <a:rect l="l" t="t" r="r" b="b"/>
              <a:pathLst>
                <a:path w="20454" h="20455" extrusionOk="0">
                  <a:moveTo>
                    <a:pt x="20453" y="1"/>
                  </a:moveTo>
                  <a:lnTo>
                    <a:pt x="20453" y="1"/>
                  </a:lnTo>
                  <a:cubicBezTo>
                    <a:pt x="19736" y="63"/>
                    <a:pt x="19023" y="158"/>
                    <a:pt x="18312" y="287"/>
                  </a:cubicBezTo>
                  <a:lnTo>
                    <a:pt x="289" y="18312"/>
                  </a:lnTo>
                  <a:cubicBezTo>
                    <a:pt x="159" y="19023"/>
                    <a:pt x="63" y="19736"/>
                    <a:pt x="1" y="20455"/>
                  </a:cubicBezTo>
                  <a:lnTo>
                    <a:pt x="20453" y="1"/>
                  </a:lnTo>
                  <a:close/>
                </a:path>
              </a:pathLst>
            </a:custGeom>
            <a:solidFill>
              <a:srgbClr val="F9B233"/>
            </a:solidFill>
            <a:ln w="9525" cap="flat" cmpd="sng">
              <a:solidFill>
                <a:srgbClr val="F9B23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5" name="Google Shape;1065;p24"/>
            <p:cNvSpPr/>
            <p:nvPr/>
          </p:nvSpPr>
          <p:spPr>
            <a:xfrm>
              <a:off x="238125" y="2189800"/>
              <a:ext cx="646975" cy="646950"/>
            </a:xfrm>
            <a:custGeom>
              <a:avLst/>
              <a:gdLst/>
              <a:ahLst/>
              <a:cxnLst/>
              <a:rect l="l" t="t" r="r" b="b"/>
              <a:pathLst>
                <a:path w="25879" h="25878" extrusionOk="0">
                  <a:moveTo>
                    <a:pt x="24220" y="1"/>
                  </a:moveTo>
                  <a:lnTo>
                    <a:pt x="0" y="24221"/>
                  </a:lnTo>
                  <a:cubicBezTo>
                    <a:pt x="46" y="24774"/>
                    <a:pt x="111" y="25327"/>
                    <a:pt x="197" y="25877"/>
                  </a:cubicBezTo>
                  <a:lnTo>
                    <a:pt x="25878" y="197"/>
                  </a:lnTo>
                  <a:cubicBezTo>
                    <a:pt x="25328" y="111"/>
                    <a:pt x="24775" y="45"/>
                    <a:pt x="24220" y="1"/>
                  </a:cubicBezTo>
                  <a:close/>
                </a:path>
              </a:pathLst>
            </a:custGeom>
            <a:solidFill>
              <a:srgbClr val="F9B233"/>
            </a:solidFill>
            <a:ln w="9525" cap="flat" cmpd="sng">
              <a:solidFill>
                <a:srgbClr val="F9B23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6" name="Google Shape;1066;p24"/>
            <p:cNvSpPr/>
            <p:nvPr/>
          </p:nvSpPr>
          <p:spPr>
            <a:xfrm>
              <a:off x="260500" y="2212175"/>
              <a:ext cx="735575" cy="735575"/>
            </a:xfrm>
            <a:custGeom>
              <a:avLst/>
              <a:gdLst/>
              <a:ahLst/>
              <a:cxnLst/>
              <a:rect l="l" t="t" r="r" b="b"/>
              <a:pathLst>
                <a:path w="29423" h="29423" extrusionOk="0">
                  <a:moveTo>
                    <a:pt x="28037" y="0"/>
                  </a:moveTo>
                  <a:lnTo>
                    <a:pt x="1" y="28036"/>
                  </a:lnTo>
                  <a:cubicBezTo>
                    <a:pt x="143" y="28502"/>
                    <a:pt x="298" y="28964"/>
                    <a:pt x="470" y="29423"/>
                  </a:cubicBezTo>
                  <a:lnTo>
                    <a:pt x="29422" y="471"/>
                  </a:lnTo>
                  <a:cubicBezTo>
                    <a:pt x="28965" y="299"/>
                    <a:pt x="28503" y="142"/>
                    <a:pt x="28037" y="0"/>
                  </a:cubicBezTo>
                  <a:close/>
                </a:path>
              </a:pathLst>
            </a:custGeom>
            <a:solidFill>
              <a:srgbClr val="F9B233"/>
            </a:solidFill>
            <a:ln w="9525" cap="flat" cmpd="sng">
              <a:solidFill>
                <a:srgbClr val="F9B23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7" name="Google Shape;1067;p24"/>
            <p:cNvSpPr/>
            <p:nvPr/>
          </p:nvSpPr>
          <p:spPr>
            <a:xfrm>
              <a:off x="301425" y="2253075"/>
              <a:ext cx="788775" cy="788825"/>
            </a:xfrm>
            <a:custGeom>
              <a:avLst/>
              <a:gdLst/>
              <a:ahLst/>
              <a:cxnLst/>
              <a:rect l="l" t="t" r="r" b="b"/>
              <a:pathLst>
                <a:path w="31551" h="31553" extrusionOk="0">
                  <a:moveTo>
                    <a:pt x="30370" y="1"/>
                  </a:moveTo>
                  <a:lnTo>
                    <a:pt x="0" y="30371"/>
                  </a:lnTo>
                  <a:cubicBezTo>
                    <a:pt x="211" y="30770"/>
                    <a:pt x="436" y="31164"/>
                    <a:pt x="675" y="31552"/>
                  </a:cubicBezTo>
                  <a:lnTo>
                    <a:pt x="31551" y="675"/>
                  </a:lnTo>
                  <a:cubicBezTo>
                    <a:pt x="31163" y="437"/>
                    <a:pt x="30770" y="213"/>
                    <a:pt x="30370" y="1"/>
                  </a:cubicBezTo>
                  <a:close/>
                </a:path>
              </a:pathLst>
            </a:custGeom>
            <a:solidFill>
              <a:srgbClr val="F9B233"/>
            </a:solidFill>
            <a:ln w="9525" cap="flat" cmpd="sng">
              <a:solidFill>
                <a:srgbClr val="F9B23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8" name="Google Shape;1068;p24"/>
            <p:cNvSpPr/>
            <p:nvPr/>
          </p:nvSpPr>
          <p:spPr>
            <a:xfrm>
              <a:off x="356800" y="2308450"/>
              <a:ext cx="813925" cy="813925"/>
            </a:xfrm>
            <a:custGeom>
              <a:avLst/>
              <a:gdLst/>
              <a:ahLst/>
              <a:cxnLst/>
              <a:rect l="l" t="t" r="r" b="b"/>
              <a:pathLst>
                <a:path w="32557" h="32557" extrusionOk="0">
                  <a:moveTo>
                    <a:pt x="31547" y="1"/>
                  </a:moveTo>
                  <a:lnTo>
                    <a:pt x="0" y="31549"/>
                  </a:lnTo>
                  <a:cubicBezTo>
                    <a:pt x="270" y="31890"/>
                    <a:pt x="552" y="32227"/>
                    <a:pt x="846" y="32556"/>
                  </a:cubicBezTo>
                  <a:lnTo>
                    <a:pt x="32556" y="848"/>
                  </a:lnTo>
                  <a:cubicBezTo>
                    <a:pt x="32226" y="554"/>
                    <a:pt x="31890" y="272"/>
                    <a:pt x="31547" y="1"/>
                  </a:cubicBezTo>
                  <a:close/>
                </a:path>
              </a:pathLst>
            </a:custGeom>
            <a:solidFill>
              <a:srgbClr val="F9B233"/>
            </a:solidFill>
            <a:ln w="9525" cap="flat" cmpd="sng">
              <a:solidFill>
                <a:srgbClr val="F9B23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69" name="Google Shape;1069;p24"/>
            <p:cNvSpPr/>
            <p:nvPr/>
          </p:nvSpPr>
          <p:spPr>
            <a:xfrm>
              <a:off x="424825" y="2376525"/>
              <a:ext cx="813925" cy="813925"/>
            </a:xfrm>
            <a:custGeom>
              <a:avLst/>
              <a:gdLst/>
              <a:ahLst/>
              <a:cxnLst/>
              <a:rect l="l" t="t" r="r" b="b"/>
              <a:pathLst>
                <a:path w="32557" h="32557" extrusionOk="0">
                  <a:moveTo>
                    <a:pt x="31711" y="1"/>
                  </a:moveTo>
                  <a:lnTo>
                    <a:pt x="1" y="31709"/>
                  </a:lnTo>
                  <a:cubicBezTo>
                    <a:pt x="331" y="32003"/>
                    <a:pt x="667" y="32286"/>
                    <a:pt x="1010" y="32556"/>
                  </a:cubicBezTo>
                  <a:lnTo>
                    <a:pt x="32557" y="1010"/>
                  </a:lnTo>
                  <a:cubicBezTo>
                    <a:pt x="32287" y="667"/>
                    <a:pt x="32005" y="330"/>
                    <a:pt x="31711" y="1"/>
                  </a:cubicBezTo>
                  <a:close/>
                </a:path>
              </a:pathLst>
            </a:custGeom>
            <a:solidFill>
              <a:srgbClr val="F9B233"/>
            </a:solidFill>
            <a:ln w="9525" cap="flat" cmpd="sng">
              <a:solidFill>
                <a:srgbClr val="F9B23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0" name="Google Shape;1070;p24"/>
            <p:cNvSpPr/>
            <p:nvPr/>
          </p:nvSpPr>
          <p:spPr>
            <a:xfrm>
              <a:off x="505350" y="2457000"/>
              <a:ext cx="788775" cy="788875"/>
            </a:xfrm>
            <a:custGeom>
              <a:avLst/>
              <a:gdLst/>
              <a:ahLst/>
              <a:cxnLst/>
              <a:rect l="l" t="t" r="r" b="b"/>
              <a:pathLst>
                <a:path w="31551" h="31555" extrusionOk="0">
                  <a:moveTo>
                    <a:pt x="30878" y="1"/>
                  </a:moveTo>
                  <a:lnTo>
                    <a:pt x="0" y="30879"/>
                  </a:lnTo>
                  <a:cubicBezTo>
                    <a:pt x="388" y="31116"/>
                    <a:pt x="782" y="31340"/>
                    <a:pt x="1181" y="31554"/>
                  </a:cubicBezTo>
                  <a:lnTo>
                    <a:pt x="31551" y="1182"/>
                  </a:lnTo>
                  <a:cubicBezTo>
                    <a:pt x="31340" y="783"/>
                    <a:pt x="31116" y="389"/>
                    <a:pt x="30878" y="1"/>
                  </a:cubicBezTo>
                  <a:close/>
                </a:path>
              </a:pathLst>
            </a:custGeom>
            <a:solidFill>
              <a:srgbClr val="F9B233"/>
            </a:solidFill>
            <a:ln w="9525" cap="flat" cmpd="sng">
              <a:solidFill>
                <a:srgbClr val="F9B23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1" name="Google Shape;1071;p24"/>
            <p:cNvSpPr/>
            <p:nvPr/>
          </p:nvSpPr>
          <p:spPr>
            <a:xfrm>
              <a:off x="599500" y="2551175"/>
              <a:ext cx="735550" cy="735550"/>
            </a:xfrm>
            <a:custGeom>
              <a:avLst/>
              <a:gdLst/>
              <a:ahLst/>
              <a:cxnLst/>
              <a:rect l="l" t="t" r="r" b="b"/>
              <a:pathLst>
                <a:path w="29422" h="29422" extrusionOk="0">
                  <a:moveTo>
                    <a:pt x="28952" y="1"/>
                  </a:moveTo>
                  <a:lnTo>
                    <a:pt x="0" y="28953"/>
                  </a:lnTo>
                  <a:cubicBezTo>
                    <a:pt x="457" y="29125"/>
                    <a:pt x="919" y="29282"/>
                    <a:pt x="1385" y="29422"/>
                  </a:cubicBezTo>
                  <a:lnTo>
                    <a:pt x="29421" y="1386"/>
                  </a:lnTo>
                  <a:cubicBezTo>
                    <a:pt x="29281" y="920"/>
                    <a:pt x="29124" y="458"/>
                    <a:pt x="28952" y="1"/>
                  </a:cubicBezTo>
                  <a:close/>
                </a:path>
              </a:pathLst>
            </a:custGeom>
            <a:solidFill>
              <a:srgbClr val="F9B233"/>
            </a:solidFill>
            <a:ln w="9525" cap="flat" cmpd="sng">
              <a:solidFill>
                <a:srgbClr val="F9B23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2" name="Google Shape;1072;p24"/>
            <p:cNvSpPr/>
            <p:nvPr/>
          </p:nvSpPr>
          <p:spPr>
            <a:xfrm>
              <a:off x="710450" y="2662150"/>
              <a:ext cx="647000" cy="646975"/>
            </a:xfrm>
            <a:custGeom>
              <a:avLst/>
              <a:gdLst/>
              <a:ahLst/>
              <a:cxnLst/>
              <a:rect l="l" t="t" r="r" b="b"/>
              <a:pathLst>
                <a:path w="25880" h="25879" extrusionOk="0">
                  <a:moveTo>
                    <a:pt x="25682" y="1"/>
                  </a:moveTo>
                  <a:lnTo>
                    <a:pt x="1" y="25681"/>
                  </a:lnTo>
                  <a:cubicBezTo>
                    <a:pt x="552" y="25767"/>
                    <a:pt x="1104" y="25833"/>
                    <a:pt x="1659" y="25879"/>
                  </a:cubicBezTo>
                  <a:lnTo>
                    <a:pt x="25879" y="1659"/>
                  </a:lnTo>
                  <a:cubicBezTo>
                    <a:pt x="25834" y="1104"/>
                    <a:pt x="25768" y="551"/>
                    <a:pt x="25682" y="1"/>
                  </a:cubicBezTo>
                  <a:close/>
                </a:path>
              </a:pathLst>
            </a:custGeom>
            <a:solidFill>
              <a:srgbClr val="F9B233"/>
            </a:solidFill>
            <a:ln w="9525" cap="flat" cmpd="sng">
              <a:solidFill>
                <a:srgbClr val="F9B23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3" name="Google Shape;1073;p24"/>
            <p:cNvSpPr/>
            <p:nvPr/>
          </p:nvSpPr>
          <p:spPr>
            <a:xfrm>
              <a:off x="845925" y="2797575"/>
              <a:ext cx="511350" cy="511350"/>
            </a:xfrm>
            <a:custGeom>
              <a:avLst/>
              <a:gdLst/>
              <a:ahLst/>
              <a:cxnLst/>
              <a:rect l="l" t="t" r="r" b="b"/>
              <a:pathLst>
                <a:path w="20454" h="20454" extrusionOk="0">
                  <a:moveTo>
                    <a:pt x="20453" y="1"/>
                  </a:moveTo>
                  <a:lnTo>
                    <a:pt x="1" y="20453"/>
                  </a:lnTo>
                  <a:cubicBezTo>
                    <a:pt x="718" y="20391"/>
                    <a:pt x="1431" y="20297"/>
                    <a:pt x="2142" y="20167"/>
                  </a:cubicBezTo>
                  <a:lnTo>
                    <a:pt x="20165" y="2142"/>
                  </a:lnTo>
                  <a:cubicBezTo>
                    <a:pt x="20295" y="1433"/>
                    <a:pt x="20391" y="720"/>
                    <a:pt x="20453" y="1"/>
                  </a:cubicBezTo>
                  <a:close/>
                </a:path>
              </a:pathLst>
            </a:custGeom>
            <a:solidFill>
              <a:srgbClr val="F9B233"/>
            </a:solidFill>
            <a:ln w="9525" cap="flat" cmpd="sng">
              <a:solidFill>
                <a:srgbClr val="F9B23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4" name="Google Shape;1074;p24"/>
            <p:cNvSpPr/>
            <p:nvPr/>
          </p:nvSpPr>
          <p:spPr>
            <a:xfrm>
              <a:off x="1037700" y="2989400"/>
              <a:ext cx="267950" cy="267900"/>
            </a:xfrm>
            <a:custGeom>
              <a:avLst/>
              <a:gdLst/>
              <a:ahLst/>
              <a:cxnLst/>
              <a:rect l="l" t="t" r="r" b="b"/>
              <a:pathLst>
                <a:path w="10718" h="10716" extrusionOk="0">
                  <a:moveTo>
                    <a:pt x="10717" y="1"/>
                  </a:moveTo>
                  <a:lnTo>
                    <a:pt x="1" y="10715"/>
                  </a:lnTo>
                  <a:cubicBezTo>
                    <a:pt x="4703" y="8488"/>
                    <a:pt x="8489" y="4703"/>
                    <a:pt x="10717" y="1"/>
                  </a:cubicBezTo>
                  <a:close/>
                </a:path>
              </a:pathLst>
            </a:custGeom>
            <a:solidFill>
              <a:srgbClr val="F9B233"/>
            </a:solidFill>
            <a:ln w="9525" cap="flat" cmpd="sng">
              <a:solidFill>
                <a:srgbClr val="F9B233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75" name="Google Shape;1075;p24"/>
          <p:cNvGrpSpPr/>
          <p:nvPr/>
        </p:nvGrpSpPr>
        <p:grpSpPr>
          <a:xfrm rot="-5400000" flipH="1">
            <a:off x="6833261" y="272461"/>
            <a:ext cx="1227340" cy="1227340"/>
            <a:chOff x="238125" y="2189800"/>
            <a:chExt cx="1119325" cy="1119325"/>
          </a:xfrm>
        </p:grpSpPr>
        <p:sp>
          <p:nvSpPr>
            <p:cNvPr id="1076" name="Google Shape;1076;p24"/>
            <p:cNvSpPr/>
            <p:nvPr/>
          </p:nvSpPr>
          <p:spPr>
            <a:xfrm>
              <a:off x="289900" y="2241600"/>
              <a:ext cx="267950" cy="267950"/>
            </a:xfrm>
            <a:custGeom>
              <a:avLst/>
              <a:gdLst/>
              <a:ahLst/>
              <a:cxnLst/>
              <a:rect l="l" t="t" r="r" b="b"/>
              <a:pathLst>
                <a:path w="10718" h="10718" extrusionOk="0">
                  <a:moveTo>
                    <a:pt x="10717" y="1"/>
                  </a:moveTo>
                  <a:lnTo>
                    <a:pt x="10717" y="1"/>
                  </a:lnTo>
                  <a:cubicBezTo>
                    <a:pt x="8382" y="1104"/>
                    <a:pt x="6257" y="2604"/>
                    <a:pt x="4431" y="4431"/>
                  </a:cubicBezTo>
                  <a:cubicBezTo>
                    <a:pt x="2604" y="6255"/>
                    <a:pt x="1106" y="8382"/>
                    <a:pt x="1" y="10717"/>
                  </a:cubicBezTo>
                  <a:lnTo>
                    <a:pt x="10717" y="1"/>
                  </a:ln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7" name="Google Shape;1077;p24"/>
            <p:cNvSpPr/>
            <p:nvPr/>
          </p:nvSpPr>
          <p:spPr>
            <a:xfrm>
              <a:off x="238275" y="2189975"/>
              <a:ext cx="511350" cy="511375"/>
            </a:xfrm>
            <a:custGeom>
              <a:avLst/>
              <a:gdLst/>
              <a:ahLst/>
              <a:cxnLst/>
              <a:rect l="l" t="t" r="r" b="b"/>
              <a:pathLst>
                <a:path w="20454" h="20455" extrusionOk="0">
                  <a:moveTo>
                    <a:pt x="20453" y="1"/>
                  </a:moveTo>
                  <a:lnTo>
                    <a:pt x="20453" y="1"/>
                  </a:lnTo>
                  <a:cubicBezTo>
                    <a:pt x="19736" y="63"/>
                    <a:pt x="19023" y="158"/>
                    <a:pt x="18312" y="287"/>
                  </a:cubicBezTo>
                  <a:lnTo>
                    <a:pt x="289" y="18312"/>
                  </a:lnTo>
                  <a:cubicBezTo>
                    <a:pt x="159" y="19023"/>
                    <a:pt x="63" y="19736"/>
                    <a:pt x="1" y="20455"/>
                  </a:cubicBezTo>
                  <a:lnTo>
                    <a:pt x="20453" y="1"/>
                  </a:ln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8" name="Google Shape;1078;p24"/>
            <p:cNvSpPr/>
            <p:nvPr/>
          </p:nvSpPr>
          <p:spPr>
            <a:xfrm>
              <a:off x="238125" y="2189800"/>
              <a:ext cx="646975" cy="646950"/>
            </a:xfrm>
            <a:custGeom>
              <a:avLst/>
              <a:gdLst/>
              <a:ahLst/>
              <a:cxnLst/>
              <a:rect l="l" t="t" r="r" b="b"/>
              <a:pathLst>
                <a:path w="25879" h="25878" extrusionOk="0">
                  <a:moveTo>
                    <a:pt x="24220" y="1"/>
                  </a:moveTo>
                  <a:lnTo>
                    <a:pt x="0" y="24221"/>
                  </a:lnTo>
                  <a:cubicBezTo>
                    <a:pt x="46" y="24774"/>
                    <a:pt x="111" y="25327"/>
                    <a:pt x="197" y="25877"/>
                  </a:cubicBezTo>
                  <a:lnTo>
                    <a:pt x="25878" y="197"/>
                  </a:lnTo>
                  <a:cubicBezTo>
                    <a:pt x="25328" y="111"/>
                    <a:pt x="24775" y="45"/>
                    <a:pt x="24220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79" name="Google Shape;1079;p24"/>
            <p:cNvSpPr/>
            <p:nvPr/>
          </p:nvSpPr>
          <p:spPr>
            <a:xfrm>
              <a:off x="260500" y="2212175"/>
              <a:ext cx="735575" cy="735575"/>
            </a:xfrm>
            <a:custGeom>
              <a:avLst/>
              <a:gdLst/>
              <a:ahLst/>
              <a:cxnLst/>
              <a:rect l="l" t="t" r="r" b="b"/>
              <a:pathLst>
                <a:path w="29423" h="29423" extrusionOk="0">
                  <a:moveTo>
                    <a:pt x="28037" y="0"/>
                  </a:moveTo>
                  <a:lnTo>
                    <a:pt x="1" y="28036"/>
                  </a:lnTo>
                  <a:cubicBezTo>
                    <a:pt x="143" y="28502"/>
                    <a:pt x="298" y="28964"/>
                    <a:pt x="470" y="29423"/>
                  </a:cubicBezTo>
                  <a:lnTo>
                    <a:pt x="29422" y="471"/>
                  </a:lnTo>
                  <a:cubicBezTo>
                    <a:pt x="28965" y="299"/>
                    <a:pt x="28503" y="142"/>
                    <a:pt x="28037" y="0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0" name="Google Shape;1080;p24"/>
            <p:cNvSpPr/>
            <p:nvPr/>
          </p:nvSpPr>
          <p:spPr>
            <a:xfrm>
              <a:off x="301425" y="2253075"/>
              <a:ext cx="788775" cy="788825"/>
            </a:xfrm>
            <a:custGeom>
              <a:avLst/>
              <a:gdLst/>
              <a:ahLst/>
              <a:cxnLst/>
              <a:rect l="l" t="t" r="r" b="b"/>
              <a:pathLst>
                <a:path w="31551" h="31553" extrusionOk="0">
                  <a:moveTo>
                    <a:pt x="30370" y="1"/>
                  </a:moveTo>
                  <a:lnTo>
                    <a:pt x="0" y="30371"/>
                  </a:lnTo>
                  <a:cubicBezTo>
                    <a:pt x="211" y="30770"/>
                    <a:pt x="436" y="31164"/>
                    <a:pt x="675" y="31552"/>
                  </a:cubicBezTo>
                  <a:lnTo>
                    <a:pt x="31551" y="675"/>
                  </a:lnTo>
                  <a:cubicBezTo>
                    <a:pt x="31163" y="437"/>
                    <a:pt x="30770" y="213"/>
                    <a:pt x="30370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1" name="Google Shape;1081;p24"/>
            <p:cNvSpPr/>
            <p:nvPr/>
          </p:nvSpPr>
          <p:spPr>
            <a:xfrm>
              <a:off x="356800" y="2308450"/>
              <a:ext cx="813925" cy="813925"/>
            </a:xfrm>
            <a:custGeom>
              <a:avLst/>
              <a:gdLst/>
              <a:ahLst/>
              <a:cxnLst/>
              <a:rect l="l" t="t" r="r" b="b"/>
              <a:pathLst>
                <a:path w="32557" h="32557" extrusionOk="0">
                  <a:moveTo>
                    <a:pt x="31547" y="1"/>
                  </a:moveTo>
                  <a:lnTo>
                    <a:pt x="0" y="31549"/>
                  </a:lnTo>
                  <a:cubicBezTo>
                    <a:pt x="270" y="31890"/>
                    <a:pt x="552" y="32227"/>
                    <a:pt x="846" y="32556"/>
                  </a:cubicBezTo>
                  <a:lnTo>
                    <a:pt x="32556" y="848"/>
                  </a:lnTo>
                  <a:cubicBezTo>
                    <a:pt x="32226" y="554"/>
                    <a:pt x="31890" y="272"/>
                    <a:pt x="31547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2" name="Google Shape;1082;p24"/>
            <p:cNvSpPr/>
            <p:nvPr/>
          </p:nvSpPr>
          <p:spPr>
            <a:xfrm>
              <a:off x="424825" y="2376525"/>
              <a:ext cx="813925" cy="813925"/>
            </a:xfrm>
            <a:custGeom>
              <a:avLst/>
              <a:gdLst/>
              <a:ahLst/>
              <a:cxnLst/>
              <a:rect l="l" t="t" r="r" b="b"/>
              <a:pathLst>
                <a:path w="32557" h="32557" extrusionOk="0">
                  <a:moveTo>
                    <a:pt x="31711" y="1"/>
                  </a:moveTo>
                  <a:lnTo>
                    <a:pt x="1" y="31709"/>
                  </a:lnTo>
                  <a:cubicBezTo>
                    <a:pt x="331" y="32003"/>
                    <a:pt x="667" y="32286"/>
                    <a:pt x="1010" y="32556"/>
                  </a:cubicBezTo>
                  <a:lnTo>
                    <a:pt x="32557" y="1010"/>
                  </a:lnTo>
                  <a:cubicBezTo>
                    <a:pt x="32287" y="667"/>
                    <a:pt x="32005" y="330"/>
                    <a:pt x="31711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3" name="Google Shape;1083;p24"/>
            <p:cNvSpPr/>
            <p:nvPr/>
          </p:nvSpPr>
          <p:spPr>
            <a:xfrm>
              <a:off x="505350" y="2457000"/>
              <a:ext cx="788775" cy="788875"/>
            </a:xfrm>
            <a:custGeom>
              <a:avLst/>
              <a:gdLst/>
              <a:ahLst/>
              <a:cxnLst/>
              <a:rect l="l" t="t" r="r" b="b"/>
              <a:pathLst>
                <a:path w="31551" h="31555" extrusionOk="0">
                  <a:moveTo>
                    <a:pt x="30878" y="1"/>
                  </a:moveTo>
                  <a:lnTo>
                    <a:pt x="0" y="30879"/>
                  </a:lnTo>
                  <a:cubicBezTo>
                    <a:pt x="388" y="31116"/>
                    <a:pt x="782" y="31340"/>
                    <a:pt x="1181" y="31554"/>
                  </a:cubicBezTo>
                  <a:lnTo>
                    <a:pt x="31551" y="1182"/>
                  </a:lnTo>
                  <a:cubicBezTo>
                    <a:pt x="31340" y="783"/>
                    <a:pt x="31116" y="389"/>
                    <a:pt x="30878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4" name="Google Shape;1084;p24"/>
            <p:cNvSpPr/>
            <p:nvPr/>
          </p:nvSpPr>
          <p:spPr>
            <a:xfrm>
              <a:off x="599500" y="2551175"/>
              <a:ext cx="735550" cy="735550"/>
            </a:xfrm>
            <a:custGeom>
              <a:avLst/>
              <a:gdLst/>
              <a:ahLst/>
              <a:cxnLst/>
              <a:rect l="l" t="t" r="r" b="b"/>
              <a:pathLst>
                <a:path w="29422" h="29422" extrusionOk="0">
                  <a:moveTo>
                    <a:pt x="28952" y="1"/>
                  </a:moveTo>
                  <a:lnTo>
                    <a:pt x="0" y="28953"/>
                  </a:lnTo>
                  <a:cubicBezTo>
                    <a:pt x="457" y="29125"/>
                    <a:pt x="919" y="29282"/>
                    <a:pt x="1385" y="29422"/>
                  </a:cubicBezTo>
                  <a:lnTo>
                    <a:pt x="29421" y="1386"/>
                  </a:lnTo>
                  <a:cubicBezTo>
                    <a:pt x="29281" y="920"/>
                    <a:pt x="29124" y="458"/>
                    <a:pt x="28952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5" name="Google Shape;1085;p24"/>
            <p:cNvSpPr/>
            <p:nvPr/>
          </p:nvSpPr>
          <p:spPr>
            <a:xfrm>
              <a:off x="710450" y="2662150"/>
              <a:ext cx="647000" cy="646975"/>
            </a:xfrm>
            <a:custGeom>
              <a:avLst/>
              <a:gdLst/>
              <a:ahLst/>
              <a:cxnLst/>
              <a:rect l="l" t="t" r="r" b="b"/>
              <a:pathLst>
                <a:path w="25880" h="25879" extrusionOk="0">
                  <a:moveTo>
                    <a:pt x="25682" y="1"/>
                  </a:moveTo>
                  <a:lnTo>
                    <a:pt x="1" y="25681"/>
                  </a:lnTo>
                  <a:cubicBezTo>
                    <a:pt x="552" y="25767"/>
                    <a:pt x="1104" y="25833"/>
                    <a:pt x="1659" y="25879"/>
                  </a:cubicBezTo>
                  <a:lnTo>
                    <a:pt x="25879" y="1659"/>
                  </a:lnTo>
                  <a:cubicBezTo>
                    <a:pt x="25834" y="1104"/>
                    <a:pt x="25768" y="551"/>
                    <a:pt x="25682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6" name="Google Shape;1086;p24"/>
            <p:cNvSpPr/>
            <p:nvPr/>
          </p:nvSpPr>
          <p:spPr>
            <a:xfrm>
              <a:off x="845925" y="2797575"/>
              <a:ext cx="511350" cy="511350"/>
            </a:xfrm>
            <a:custGeom>
              <a:avLst/>
              <a:gdLst/>
              <a:ahLst/>
              <a:cxnLst/>
              <a:rect l="l" t="t" r="r" b="b"/>
              <a:pathLst>
                <a:path w="20454" h="20454" extrusionOk="0">
                  <a:moveTo>
                    <a:pt x="20453" y="1"/>
                  </a:moveTo>
                  <a:lnTo>
                    <a:pt x="1" y="20453"/>
                  </a:lnTo>
                  <a:cubicBezTo>
                    <a:pt x="718" y="20391"/>
                    <a:pt x="1431" y="20297"/>
                    <a:pt x="2142" y="20167"/>
                  </a:cubicBezTo>
                  <a:lnTo>
                    <a:pt x="20165" y="2142"/>
                  </a:lnTo>
                  <a:cubicBezTo>
                    <a:pt x="20295" y="1433"/>
                    <a:pt x="20391" y="720"/>
                    <a:pt x="20453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87" name="Google Shape;1087;p24"/>
            <p:cNvSpPr/>
            <p:nvPr/>
          </p:nvSpPr>
          <p:spPr>
            <a:xfrm>
              <a:off x="1037700" y="2989400"/>
              <a:ext cx="267950" cy="267900"/>
            </a:xfrm>
            <a:custGeom>
              <a:avLst/>
              <a:gdLst/>
              <a:ahLst/>
              <a:cxnLst/>
              <a:rect l="l" t="t" r="r" b="b"/>
              <a:pathLst>
                <a:path w="10718" h="10716" extrusionOk="0">
                  <a:moveTo>
                    <a:pt x="10717" y="1"/>
                  </a:moveTo>
                  <a:lnTo>
                    <a:pt x="1" y="10715"/>
                  </a:lnTo>
                  <a:cubicBezTo>
                    <a:pt x="4703" y="8488"/>
                    <a:pt x="8489" y="4703"/>
                    <a:pt x="10717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088" name="Google Shape;1088;p24"/>
          <p:cNvGrpSpPr/>
          <p:nvPr/>
        </p:nvGrpSpPr>
        <p:grpSpPr>
          <a:xfrm rot="5400000">
            <a:off x="-669151" y="-710536"/>
            <a:ext cx="1910576" cy="1910576"/>
            <a:chOff x="238125" y="2189800"/>
            <a:chExt cx="1119325" cy="1119325"/>
          </a:xfrm>
        </p:grpSpPr>
        <p:sp>
          <p:nvSpPr>
            <p:cNvPr id="1089" name="Google Shape;1089;p24"/>
            <p:cNvSpPr/>
            <p:nvPr/>
          </p:nvSpPr>
          <p:spPr>
            <a:xfrm>
              <a:off x="289900" y="2241600"/>
              <a:ext cx="267950" cy="267950"/>
            </a:xfrm>
            <a:custGeom>
              <a:avLst/>
              <a:gdLst/>
              <a:ahLst/>
              <a:cxnLst/>
              <a:rect l="l" t="t" r="r" b="b"/>
              <a:pathLst>
                <a:path w="10718" h="10718" extrusionOk="0">
                  <a:moveTo>
                    <a:pt x="10717" y="1"/>
                  </a:moveTo>
                  <a:lnTo>
                    <a:pt x="10717" y="1"/>
                  </a:lnTo>
                  <a:cubicBezTo>
                    <a:pt x="8382" y="1104"/>
                    <a:pt x="6257" y="2604"/>
                    <a:pt x="4431" y="4431"/>
                  </a:cubicBezTo>
                  <a:cubicBezTo>
                    <a:pt x="2604" y="6255"/>
                    <a:pt x="1106" y="8382"/>
                    <a:pt x="1" y="10717"/>
                  </a:cubicBezTo>
                  <a:lnTo>
                    <a:pt x="10717" y="1"/>
                  </a:lnTo>
                  <a:close/>
                </a:path>
              </a:pathLst>
            </a:custGeom>
            <a:solidFill>
              <a:schemeClr val="dk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0" name="Google Shape;1090;p24"/>
            <p:cNvSpPr/>
            <p:nvPr/>
          </p:nvSpPr>
          <p:spPr>
            <a:xfrm>
              <a:off x="238275" y="2189975"/>
              <a:ext cx="511350" cy="511375"/>
            </a:xfrm>
            <a:custGeom>
              <a:avLst/>
              <a:gdLst/>
              <a:ahLst/>
              <a:cxnLst/>
              <a:rect l="l" t="t" r="r" b="b"/>
              <a:pathLst>
                <a:path w="20454" h="20455" extrusionOk="0">
                  <a:moveTo>
                    <a:pt x="20453" y="1"/>
                  </a:moveTo>
                  <a:lnTo>
                    <a:pt x="20453" y="1"/>
                  </a:lnTo>
                  <a:cubicBezTo>
                    <a:pt x="19736" y="63"/>
                    <a:pt x="19023" y="158"/>
                    <a:pt x="18312" y="287"/>
                  </a:cubicBezTo>
                  <a:lnTo>
                    <a:pt x="289" y="18312"/>
                  </a:lnTo>
                  <a:cubicBezTo>
                    <a:pt x="159" y="19023"/>
                    <a:pt x="63" y="19736"/>
                    <a:pt x="1" y="20455"/>
                  </a:cubicBezTo>
                  <a:lnTo>
                    <a:pt x="20453" y="1"/>
                  </a:lnTo>
                  <a:close/>
                </a:path>
              </a:pathLst>
            </a:custGeom>
            <a:solidFill>
              <a:schemeClr val="dk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1" name="Google Shape;1091;p24"/>
            <p:cNvSpPr/>
            <p:nvPr/>
          </p:nvSpPr>
          <p:spPr>
            <a:xfrm>
              <a:off x="238125" y="2189800"/>
              <a:ext cx="646975" cy="646950"/>
            </a:xfrm>
            <a:custGeom>
              <a:avLst/>
              <a:gdLst/>
              <a:ahLst/>
              <a:cxnLst/>
              <a:rect l="l" t="t" r="r" b="b"/>
              <a:pathLst>
                <a:path w="25879" h="25878" extrusionOk="0">
                  <a:moveTo>
                    <a:pt x="24220" y="1"/>
                  </a:moveTo>
                  <a:lnTo>
                    <a:pt x="0" y="24221"/>
                  </a:lnTo>
                  <a:cubicBezTo>
                    <a:pt x="46" y="24774"/>
                    <a:pt x="111" y="25327"/>
                    <a:pt x="197" y="25877"/>
                  </a:cubicBezTo>
                  <a:lnTo>
                    <a:pt x="25878" y="197"/>
                  </a:lnTo>
                  <a:cubicBezTo>
                    <a:pt x="25328" y="111"/>
                    <a:pt x="24775" y="45"/>
                    <a:pt x="24220" y="1"/>
                  </a:cubicBezTo>
                  <a:close/>
                </a:path>
              </a:pathLst>
            </a:custGeom>
            <a:solidFill>
              <a:schemeClr val="dk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2" name="Google Shape;1092;p24"/>
            <p:cNvSpPr/>
            <p:nvPr/>
          </p:nvSpPr>
          <p:spPr>
            <a:xfrm>
              <a:off x="260500" y="2212175"/>
              <a:ext cx="735575" cy="735575"/>
            </a:xfrm>
            <a:custGeom>
              <a:avLst/>
              <a:gdLst/>
              <a:ahLst/>
              <a:cxnLst/>
              <a:rect l="l" t="t" r="r" b="b"/>
              <a:pathLst>
                <a:path w="29423" h="29423" extrusionOk="0">
                  <a:moveTo>
                    <a:pt x="28037" y="0"/>
                  </a:moveTo>
                  <a:lnTo>
                    <a:pt x="1" y="28036"/>
                  </a:lnTo>
                  <a:cubicBezTo>
                    <a:pt x="143" y="28502"/>
                    <a:pt x="298" y="28964"/>
                    <a:pt x="470" y="29423"/>
                  </a:cubicBezTo>
                  <a:lnTo>
                    <a:pt x="29422" y="471"/>
                  </a:lnTo>
                  <a:cubicBezTo>
                    <a:pt x="28965" y="299"/>
                    <a:pt x="28503" y="142"/>
                    <a:pt x="28037" y="0"/>
                  </a:cubicBezTo>
                  <a:close/>
                </a:path>
              </a:pathLst>
            </a:custGeom>
            <a:solidFill>
              <a:schemeClr val="dk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3" name="Google Shape;1093;p24"/>
            <p:cNvSpPr/>
            <p:nvPr/>
          </p:nvSpPr>
          <p:spPr>
            <a:xfrm>
              <a:off x="301425" y="2253075"/>
              <a:ext cx="788775" cy="788825"/>
            </a:xfrm>
            <a:custGeom>
              <a:avLst/>
              <a:gdLst/>
              <a:ahLst/>
              <a:cxnLst/>
              <a:rect l="l" t="t" r="r" b="b"/>
              <a:pathLst>
                <a:path w="31551" h="31553" extrusionOk="0">
                  <a:moveTo>
                    <a:pt x="30370" y="1"/>
                  </a:moveTo>
                  <a:lnTo>
                    <a:pt x="0" y="30371"/>
                  </a:lnTo>
                  <a:cubicBezTo>
                    <a:pt x="211" y="30770"/>
                    <a:pt x="436" y="31164"/>
                    <a:pt x="675" y="31552"/>
                  </a:cubicBezTo>
                  <a:lnTo>
                    <a:pt x="31551" y="675"/>
                  </a:lnTo>
                  <a:cubicBezTo>
                    <a:pt x="31163" y="437"/>
                    <a:pt x="30770" y="213"/>
                    <a:pt x="30370" y="1"/>
                  </a:cubicBezTo>
                  <a:close/>
                </a:path>
              </a:pathLst>
            </a:custGeom>
            <a:solidFill>
              <a:schemeClr val="dk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4" name="Google Shape;1094;p24"/>
            <p:cNvSpPr/>
            <p:nvPr/>
          </p:nvSpPr>
          <p:spPr>
            <a:xfrm>
              <a:off x="356800" y="2308450"/>
              <a:ext cx="813925" cy="813925"/>
            </a:xfrm>
            <a:custGeom>
              <a:avLst/>
              <a:gdLst/>
              <a:ahLst/>
              <a:cxnLst/>
              <a:rect l="l" t="t" r="r" b="b"/>
              <a:pathLst>
                <a:path w="32557" h="32557" extrusionOk="0">
                  <a:moveTo>
                    <a:pt x="31547" y="1"/>
                  </a:moveTo>
                  <a:lnTo>
                    <a:pt x="0" y="31549"/>
                  </a:lnTo>
                  <a:cubicBezTo>
                    <a:pt x="270" y="31890"/>
                    <a:pt x="552" y="32227"/>
                    <a:pt x="846" y="32556"/>
                  </a:cubicBezTo>
                  <a:lnTo>
                    <a:pt x="32556" y="848"/>
                  </a:lnTo>
                  <a:cubicBezTo>
                    <a:pt x="32226" y="554"/>
                    <a:pt x="31890" y="272"/>
                    <a:pt x="31547" y="1"/>
                  </a:cubicBezTo>
                  <a:close/>
                </a:path>
              </a:pathLst>
            </a:custGeom>
            <a:solidFill>
              <a:schemeClr val="dk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5" name="Google Shape;1095;p24"/>
            <p:cNvSpPr/>
            <p:nvPr/>
          </p:nvSpPr>
          <p:spPr>
            <a:xfrm>
              <a:off x="424825" y="2376525"/>
              <a:ext cx="813925" cy="813925"/>
            </a:xfrm>
            <a:custGeom>
              <a:avLst/>
              <a:gdLst/>
              <a:ahLst/>
              <a:cxnLst/>
              <a:rect l="l" t="t" r="r" b="b"/>
              <a:pathLst>
                <a:path w="32557" h="32557" extrusionOk="0">
                  <a:moveTo>
                    <a:pt x="31711" y="1"/>
                  </a:moveTo>
                  <a:lnTo>
                    <a:pt x="1" y="31709"/>
                  </a:lnTo>
                  <a:cubicBezTo>
                    <a:pt x="331" y="32003"/>
                    <a:pt x="667" y="32286"/>
                    <a:pt x="1010" y="32556"/>
                  </a:cubicBezTo>
                  <a:lnTo>
                    <a:pt x="32557" y="1010"/>
                  </a:lnTo>
                  <a:cubicBezTo>
                    <a:pt x="32287" y="667"/>
                    <a:pt x="32005" y="330"/>
                    <a:pt x="31711" y="1"/>
                  </a:cubicBezTo>
                  <a:close/>
                </a:path>
              </a:pathLst>
            </a:custGeom>
            <a:solidFill>
              <a:schemeClr val="dk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6" name="Google Shape;1096;p24"/>
            <p:cNvSpPr/>
            <p:nvPr/>
          </p:nvSpPr>
          <p:spPr>
            <a:xfrm>
              <a:off x="505350" y="2457000"/>
              <a:ext cx="788775" cy="788875"/>
            </a:xfrm>
            <a:custGeom>
              <a:avLst/>
              <a:gdLst/>
              <a:ahLst/>
              <a:cxnLst/>
              <a:rect l="l" t="t" r="r" b="b"/>
              <a:pathLst>
                <a:path w="31551" h="31555" extrusionOk="0">
                  <a:moveTo>
                    <a:pt x="30878" y="1"/>
                  </a:moveTo>
                  <a:lnTo>
                    <a:pt x="0" y="30879"/>
                  </a:lnTo>
                  <a:cubicBezTo>
                    <a:pt x="388" y="31116"/>
                    <a:pt x="782" y="31340"/>
                    <a:pt x="1181" y="31554"/>
                  </a:cubicBezTo>
                  <a:lnTo>
                    <a:pt x="31551" y="1182"/>
                  </a:lnTo>
                  <a:cubicBezTo>
                    <a:pt x="31340" y="783"/>
                    <a:pt x="31116" y="389"/>
                    <a:pt x="30878" y="1"/>
                  </a:cubicBezTo>
                  <a:close/>
                </a:path>
              </a:pathLst>
            </a:custGeom>
            <a:solidFill>
              <a:schemeClr val="dk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7" name="Google Shape;1097;p24"/>
            <p:cNvSpPr/>
            <p:nvPr/>
          </p:nvSpPr>
          <p:spPr>
            <a:xfrm>
              <a:off x="599500" y="2551175"/>
              <a:ext cx="735550" cy="735550"/>
            </a:xfrm>
            <a:custGeom>
              <a:avLst/>
              <a:gdLst/>
              <a:ahLst/>
              <a:cxnLst/>
              <a:rect l="l" t="t" r="r" b="b"/>
              <a:pathLst>
                <a:path w="29422" h="29422" extrusionOk="0">
                  <a:moveTo>
                    <a:pt x="28952" y="1"/>
                  </a:moveTo>
                  <a:lnTo>
                    <a:pt x="0" y="28953"/>
                  </a:lnTo>
                  <a:cubicBezTo>
                    <a:pt x="457" y="29125"/>
                    <a:pt x="919" y="29282"/>
                    <a:pt x="1385" y="29422"/>
                  </a:cubicBezTo>
                  <a:lnTo>
                    <a:pt x="29421" y="1386"/>
                  </a:lnTo>
                  <a:cubicBezTo>
                    <a:pt x="29281" y="920"/>
                    <a:pt x="29124" y="458"/>
                    <a:pt x="28952" y="1"/>
                  </a:cubicBezTo>
                  <a:close/>
                </a:path>
              </a:pathLst>
            </a:custGeom>
            <a:solidFill>
              <a:schemeClr val="dk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8" name="Google Shape;1098;p24"/>
            <p:cNvSpPr/>
            <p:nvPr/>
          </p:nvSpPr>
          <p:spPr>
            <a:xfrm>
              <a:off x="710450" y="2662150"/>
              <a:ext cx="647000" cy="646975"/>
            </a:xfrm>
            <a:custGeom>
              <a:avLst/>
              <a:gdLst/>
              <a:ahLst/>
              <a:cxnLst/>
              <a:rect l="l" t="t" r="r" b="b"/>
              <a:pathLst>
                <a:path w="25880" h="25879" extrusionOk="0">
                  <a:moveTo>
                    <a:pt x="25682" y="1"/>
                  </a:moveTo>
                  <a:lnTo>
                    <a:pt x="1" y="25681"/>
                  </a:lnTo>
                  <a:cubicBezTo>
                    <a:pt x="552" y="25767"/>
                    <a:pt x="1104" y="25833"/>
                    <a:pt x="1659" y="25879"/>
                  </a:cubicBezTo>
                  <a:lnTo>
                    <a:pt x="25879" y="1659"/>
                  </a:lnTo>
                  <a:cubicBezTo>
                    <a:pt x="25834" y="1104"/>
                    <a:pt x="25768" y="551"/>
                    <a:pt x="25682" y="1"/>
                  </a:cubicBezTo>
                  <a:close/>
                </a:path>
              </a:pathLst>
            </a:custGeom>
            <a:solidFill>
              <a:schemeClr val="dk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099" name="Google Shape;1099;p24"/>
            <p:cNvSpPr/>
            <p:nvPr/>
          </p:nvSpPr>
          <p:spPr>
            <a:xfrm>
              <a:off x="845925" y="2797575"/>
              <a:ext cx="511350" cy="511350"/>
            </a:xfrm>
            <a:custGeom>
              <a:avLst/>
              <a:gdLst/>
              <a:ahLst/>
              <a:cxnLst/>
              <a:rect l="l" t="t" r="r" b="b"/>
              <a:pathLst>
                <a:path w="20454" h="20454" extrusionOk="0">
                  <a:moveTo>
                    <a:pt x="20453" y="1"/>
                  </a:moveTo>
                  <a:lnTo>
                    <a:pt x="1" y="20453"/>
                  </a:lnTo>
                  <a:cubicBezTo>
                    <a:pt x="718" y="20391"/>
                    <a:pt x="1431" y="20297"/>
                    <a:pt x="2142" y="20167"/>
                  </a:cubicBezTo>
                  <a:lnTo>
                    <a:pt x="20165" y="2142"/>
                  </a:lnTo>
                  <a:cubicBezTo>
                    <a:pt x="20295" y="1433"/>
                    <a:pt x="20391" y="720"/>
                    <a:pt x="20453" y="1"/>
                  </a:cubicBezTo>
                  <a:close/>
                </a:path>
              </a:pathLst>
            </a:custGeom>
            <a:solidFill>
              <a:schemeClr val="dk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0" name="Google Shape;1100;p24"/>
            <p:cNvSpPr/>
            <p:nvPr/>
          </p:nvSpPr>
          <p:spPr>
            <a:xfrm>
              <a:off x="1037700" y="2989400"/>
              <a:ext cx="267950" cy="267900"/>
            </a:xfrm>
            <a:custGeom>
              <a:avLst/>
              <a:gdLst/>
              <a:ahLst/>
              <a:cxnLst/>
              <a:rect l="l" t="t" r="r" b="b"/>
              <a:pathLst>
                <a:path w="10718" h="10716" extrusionOk="0">
                  <a:moveTo>
                    <a:pt x="10717" y="1"/>
                  </a:moveTo>
                  <a:lnTo>
                    <a:pt x="1" y="10715"/>
                  </a:lnTo>
                  <a:cubicBezTo>
                    <a:pt x="4703" y="8488"/>
                    <a:pt x="8489" y="4703"/>
                    <a:pt x="10717" y="1"/>
                  </a:cubicBezTo>
                  <a:close/>
                </a:path>
              </a:pathLst>
            </a:custGeom>
            <a:solidFill>
              <a:schemeClr val="dk2"/>
            </a:solidFill>
            <a:ln w="9525" cap="flat" cmpd="sng">
              <a:solidFill>
                <a:schemeClr val="dk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101" name="Google Shape;1101;p24"/>
          <p:cNvSpPr/>
          <p:nvPr/>
        </p:nvSpPr>
        <p:spPr>
          <a:xfrm flipH="1">
            <a:off x="6528549" y="3027650"/>
            <a:ext cx="3668100" cy="2162400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1102" name="Google Shape;1102;p24"/>
          <p:cNvCxnSpPr/>
          <p:nvPr/>
        </p:nvCxnSpPr>
        <p:spPr>
          <a:xfrm rot="10800000" flipH="1">
            <a:off x="6707054" y="3778325"/>
            <a:ext cx="2601300" cy="1525800"/>
          </a:xfrm>
          <a:prstGeom prst="straightConnector1">
            <a:avLst/>
          </a:prstGeom>
          <a:noFill/>
          <a:ln w="28575" cap="flat" cmpd="sng">
            <a:solidFill>
              <a:schemeClr val="lt1"/>
            </a:solidFill>
            <a:prstDash val="lgDash"/>
            <a:round/>
            <a:headEnd type="none" w="med" len="med"/>
            <a:tailEnd type="none" w="med" len="med"/>
          </a:ln>
        </p:spPr>
      </p:cxnSp>
      <p:sp>
        <p:nvSpPr>
          <p:cNvPr id="1103" name="Google Shape;1103;p24"/>
          <p:cNvSpPr/>
          <p:nvPr/>
        </p:nvSpPr>
        <p:spPr>
          <a:xfrm>
            <a:off x="-1276587" y="3853075"/>
            <a:ext cx="3502800" cy="3502800"/>
          </a:xfrm>
          <a:prstGeom prst="ellipse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04" name="Google Shape;1104;p24"/>
          <p:cNvGrpSpPr/>
          <p:nvPr/>
        </p:nvGrpSpPr>
        <p:grpSpPr>
          <a:xfrm rot="-5400000" flipH="1">
            <a:off x="-170704" y="2836241"/>
            <a:ext cx="1767862" cy="1767862"/>
            <a:chOff x="238125" y="2189800"/>
            <a:chExt cx="1119325" cy="1119325"/>
          </a:xfrm>
        </p:grpSpPr>
        <p:sp>
          <p:nvSpPr>
            <p:cNvPr id="1105" name="Google Shape;1105;p24"/>
            <p:cNvSpPr/>
            <p:nvPr/>
          </p:nvSpPr>
          <p:spPr>
            <a:xfrm>
              <a:off x="289900" y="2241600"/>
              <a:ext cx="267950" cy="267950"/>
            </a:xfrm>
            <a:custGeom>
              <a:avLst/>
              <a:gdLst/>
              <a:ahLst/>
              <a:cxnLst/>
              <a:rect l="l" t="t" r="r" b="b"/>
              <a:pathLst>
                <a:path w="10718" h="10718" extrusionOk="0">
                  <a:moveTo>
                    <a:pt x="10717" y="1"/>
                  </a:moveTo>
                  <a:lnTo>
                    <a:pt x="10717" y="1"/>
                  </a:lnTo>
                  <a:cubicBezTo>
                    <a:pt x="8382" y="1104"/>
                    <a:pt x="6257" y="2604"/>
                    <a:pt x="4431" y="4431"/>
                  </a:cubicBezTo>
                  <a:cubicBezTo>
                    <a:pt x="2604" y="6255"/>
                    <a:pt x="1106" y="8382"/>
                    <a:pt x="1" y="10717"/>
                  </a:cubicBezTo>
                  <a:lnTo>
                    <a:pt x="10717" y="1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6" name="Google Shape;1106;p24"/>
            <p:cNvSpPr/>
            <p:nvPr/>
          </p:nvSpPr>
          <p:spPr>
            <a:xfrm>
              <a:off x="238275" y="2189975"/>
              <a:ext cx="511350" cy="511375"/>
            </a:xfrm>
            <a:custGeom>
              <a:avLst/>
              <a:gdLst/>
              <a:ahLst/>
              <a:cxnLst/>
              <a:rect l="l" t="t" r="r" b="b"/>
              <a:pathLst>
                <a:path w="20454" h="20455" extrusionOk="0">
                  <a:moveTo>
                    <a:pt x="20453" y="1"/>
                  </a:moveTo>
                  <a:lnTo>
                    <a:pt x="20453" y="1"/>
                  </a:lnTo>
                  <a:cubicBezTo>
                    <a:pt x="19736" y="63"/>
                    <a:pt x="19023" y="158"/>
                    <a:pt x="18312" y="287"/>
                  </a:cubicBezTo>
                  <a:lnTo>
                    <a:pt x="289" y="18312"/>
                  </a:lnTo>
                  <a:cubicBezTo>
                    <a:pt x="159" y="19023"/>
                    <a:pt x="63" y="19736"/>
                    <a:pt x="1" y="20455"/>
                  </a:cubicBezTo>
                  <a:lnTo>
                    <a:pt x="20453" y="1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7" name="Google Shape;1107;p24"/>
            <p:cNvSpPr/>
            <p:nvPr/>
          </p:nvSpPr>
          <p:spPr>
            <a:xfrm>
              <a:off x="238125" y="2189800"/>
              <a:ext cx="646975" cy="646950"/>
            </a:xfrm>
            <a:custGeom>
              <a:avLst/>
              <a:gdLst/>
              <a:ahLst/>
              <a:cxnLst/>
              <a:rect l="l" t="t" r="r" b="b"/>
              <a:pathLst>
                <a:path w="25879" h="25878" extrusionOk="0">
                  <a:moveTo>
                    <a:pt x="24220" y="1"/>
                  </a:moveTo>
                  <a:lnTo>
                    <a:pt x="0" y="24221"/>
                  </a:lnTo>
                  <a:cubicBezTo>
                    <a:pt x="46" y="24774"/>
                    <a:pt x="111" y="25327"/>
                    <a:pt x="197" y="25877"/>
                  </a:cubicBezTo>
                  <a:lnTo>
                    <a:pt x="25878" y="197"/>
                  </a:lnTo>
                  <a:cubicBezTo>
                    <a:pt x="25328" y="111"/>
                    <a:pt x="24775" y="45"/>
                    <a:pt x="24220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8" name="Google Shape;1108;p24"/>
            <p:cNvSpPr/>
            <p:nvPr/>
          </p:nvSpPr>
          <p:spPr>
            <a:xfrm>
              <a:off x="260500" y="2212175"/>
              <a:ext cx="735575" cy="735575"/>
            </a:xfrm>
            <a:custGeom>
              <a:avLst/>
              <a:gdLst/>
              <a:ahLst/>
              <a:cxnLst/>
              <a:rect l="l" t="t" r="r" b="b"/>
              <a:pathLst>
                <a:path w="29423" h="29423" extrusionOk="0">
                  <a:moveTo>
                    <a:pt x="28037" y="0"/>
                  </a:moveTo>
                  <a:lnTo>
                    <a:pt x="1" y="28036"/>
                  </a:lnTo>
                  <a:cubicBezTo>
                    <a:pt x="143" y="28502"/>
                    <a:pt x="298" y="28964"/>
                    <a:pt x="470" y="29423"/>
                  </a:cubicBezTo>
                  <a:lnTo>
                    <a:pt x="29422" y="471"/>
                  </a:lnTo>
                  <a:cubicBezTo>
                    <a:pt x="28965" y="299"/>
                    <a:pt x="28503" y="142"/>
                    <a:pt x="28037" y="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09" name="Google Shape;1109;p24"/>
            <p:cNvSpPr/>
            <p:nvPr/>
          </p:nvSpPr>
          <p:spPr>
            <a:xfrm>
              <a:off x="301425" y="2253075"/>
              <a:ext cx="788775" cy="788825"/>
            </a:xfrm>
            <a:custGeom>
              <a:avLst/>
              <a:gdLst/>
              <a:ahLst/>
              <a:cxnLst/>
              <a:rect l="l" t="t" r="r" b="b"/>
              <a:pathLst>
                <a:path w="31551" h="31553" extrusionOk="0">
                  <a:moveTo>
                    <a:pt x="30370" y="1"/>
                  </a:moveTo>
                  <a:lnTo>
                    <a:pt x="0" y="30371"/>
                  </a:lnTo>
                  <a:cubicBezTo>
                    <a:pt x="211" y="30770"/>
                    <a:pt x="436" y="31164"/>
                    <a:pt x="675" y="31552"/>
                  </a:cubicBezTo>
                  <a:lnTo>
                    <a:pt x="31551" y="675"/>
                  </a:lnTo>
                  <a:cubicBezTo>
                    <a:pt x="31163" y="437"/>
                    <a:pt x="30770" y="213"/>
                    <a:pt x="30370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0" name="Google Shape;1110;p24"/>
            <p:cNvSpPr/>
            <p:nvPr/>
          </p:nvSpPr>
          <p:spPr>
            <a:xfrm>
              <a:off x="356800" y="2308450"/>
              <a:ext cx="813925" cy="813925"/>
            </a:xfrm>
            <a:custGeom>
              <a:avLst/>
              <a:gdLst/>
              <a:ahLst/>
              <a:cxnLst/>
              <a:rect l="l" t="t" r="r" b="b"/>
              <a:pathLst>
                <a:path w="32557" h="32557" extrusionOk="0">
                  <a:moveTo>
                    <a:pt x="31547" y="1"/>
                  </a:moveTo>
                  <a:lnTo>
                    <a:pt x="0" y="31549"/>
                  </a:lnTo>
                  <a:cubicBezTo>
                    <a:pt x="270" y="31890"/>
                    <a:pt x="552" y="32227"/>
                    <a:pt x="846" y="32556"/>
                  </a:cubicBezTo>
                  <a:lnTo>
                    <a:pt x="32556" y="848"/>
                  </a:lnTo>
                  <a:cubicBezTo>
                    <a:pt x="32226" y="554"/>
                    <a:pt x="31890" y="272"/>
                    <a:pt x="31547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1" name="Google Shape;1111;p24"/>
            <p:cNvSpPr/>
            <p:nvPr/>
          </p:nvSpPr>
          <p:spPr>
            <a:xfrm>
              <a:off x="424825" y="2376525"/>
              <a:ext cx="813925" cy="813925"/>
            </a:xfrm>
            <a:custGeom>
              <a:avLst/>
              <a:gdLst/>
              <a:ahLst/>
              <a:cxnLst/>
              <a:rect l="l" t="t" r="r" b="b"/>
              <a:pathLst>
                <a:path w="32557" h="32557" extrusionOk="0">
                  <a:moveTo>
                    <a:pt x="31711" y="1"/>
                  </a:moveTo>
                  <a:lnTo>
                    <a:pt x="1" y="31709"/>
                  </a:lnTo>
                  <a:cubicBezTo>
                    <a:pt x="331" y="32003"/>
                    <a:pt x="667" y="32286"/>
                    <a:pt x="1010" y="32556"/>
                  </a:cubicBezTo>
                  <a:lnTo>
                    <a:pt x="32557" y="1010"/>
                  </a:lnTo>
                  <a:cubicBezTo>
                    <a:pt x="32287" y="667"/>
                    <a:pt x="32005" y="330"/>
                    <a:pt x="31711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2" name="Google Shape;1112;p24"/>
            <p:cNvSpPr/>
            <p:nvPr/>
          </p:nvSpPr>
          <p:spPr>
            <a:xfrm>
              <a:off x="505350" y="2457000"/>
              <a:ext cx="788775" cy="788875"/>
            </a:xfrm>
            <a:custGeom>
              <a:avLst/>
              <a:gdLst/>
              <a:ahLst/>
              <a:cxnLst/>
              <a:rect l="l" t="t" r="r" b="b"/>
              <a:pathLst>
                <a:path w="31551" h="31555" extrusionOk="0">
                  <a:moveTo>
                    <a:pt x="30878" y="1"/>
                  </a:moveTo>
                  <a:lnTo>
                    <a:pt x="0" y="30879"/>
                  </a:lnTo>
                  <a:cubicBezTo>
                    <a:pt x="388" y="31116"/>
                    <a:pt x="782" y="31340"/>
                    <a:pt x="1181" y="31554"/>
                  </a:cubicBezTo>
                  <a:lnTo>
                    <a:pt x="31551" y="1182"/>
                  </a:lnTo>
                  <a:cubicBezTo>
                    <a:pt x="31340" y="783"/>
                    <a:pt x="31116" y="389"/>
                    <a:pt x="30878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3" name="Google Shape;1113;p24"/>
            <p:cNvSpPr/>
            <p:nvPr/>
          </p:nvSpPr>
          <p:spPr>
            <a:xfrm>
              <a:off x="599500" y="2551175"/>
              <a:ext cx="735550" cy="735550"/>
            </a:xfrm>
            <a:custGeom>
              <a:avLst/>
              <a:gdLst/>
              <a:ahLst/>
              <a:cxnLst/>
              <a:rect l="l" t="t" r="r" b="b"/>
              <a:pathLst>
                <a:path w="29422" h="29422" extrusionOk="0">
                  <a:moveTo>
                    <a:pt x="28952" y="1"/>
                  </a:moveTo>
                  <a:lnTo>
                    <a:pt x="0" y="28953"/>
                  </a:lnTo>
                  <a:cubicBezTo>
                    <a:pt x="457" y="29125"/>
                    <a:pt x="919" y="29282"/>
                    <a:pt x="1385" y="29422"/>
                  </a:cubicBezTo>
                  <a:lnTo>
                    <a:pt x="29421" y="1386"/>
                  </a:lnTo>
                  <a:cubicBezTo>
                    <a:pt x="29281" y="920"/>
                    <a:pt x="29124" y="458"/>
                    <a:pt x="28952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4" name="Google Shape;1114;p24"/>
            <p:cNvSpPr/>
            <p:nvPr/>
          </p:nvSpPr>
          <p:spPr>
            <a:xfrm>
              <a:off x="710450" y="2662150"/>
              <a:ext cx="647000" cy="646975"/>
            </a:xfrm>
            <a:custGeom>
              <a:avLst/>
              <a:gdLst/>
              <a:ahLst/>
              <a:cxnLst/>
              <a:rect l="l" t="t" r="r" b="b"/>
              <a:pathLst>
                <a:path w="25880" h="25879" extrusionOk="0">
                  <a:moveTo>
                    <a:pt x="25682" y="1"/>
                  </a:moveTo>
                  <a:lnTo>
                    <a:pt x="1" y="25681"/>
                  </a:lnTo>
                  <a:cubicBezTo>
                    <a:pt x="552" y="25767"/>
                    <a:pt x="1104" y="25833"/>
                    <a:pt x="1659" y="25879"/>
                  </a:cubicBezTo>
                  <a:lnTo>
                    <a:pt x="25879" y="1659"/>
                  </a:lnTo>
                  <a:cubicBezTo>
                    <a:pt x="25834" y="1104"/>
                    <a:pt x="25768" y="551"/>
                    <a:pt x="25682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5" name="Google Shape;1115;p24"/>
            <p:cNvSpPr/>
            <p:nvPr/>
          </p:nvSpPr>
          <p:spPr>
            <a:xfrm>
              <a:off x="845925" y="2797575"/>
              <a:ext cx="511350" cy="511350"/>
            </a:xfrm>
            <a:custGeom>
              <a:avLst/>
              <a:gdLst/>
              <a:ahLst/>
              <a:cxnLst/>
              <a:rect l="l" t="t" r="r" b="b"/>
              <a:pathLst>
                <a:path w="20454" h="20454" extrusionOk="0">
                  <a:moveTo>
                    <a:pt x="20453" y="1"/>
                  </a:moveTo>
                  <a:lnTo>
                    <a:pt x="1" y="20453"/>
                  </a:lnTo>
                  <a:cubicBezTo>
                    <a:pt x="718" y="20391"/>
                    <a:pt x="1431" y="20297"/>
                    <a:pt x="2142" y="20167"/>
                  </a:cubicBezTo>
                  <a:lnTo>
                    <a:pt x="20165" y="2142"/>
                  </a:lnTo>
                  <a:cubicBezTo>
                    <a:pt x="20295" y="1433"/>
                    <a:pt x="20391" y="720"/>
                    <a:pt x="20453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16" name="Google Shape;1116;p24"/>
            <p:cNvSpPr/>
            <p:nvPr/>
          </p:nvSpPr>
          <p:spPr>
            <a:xfrm>
              <a:off x="1037700" y="2989400"/>
              <a:ext cx="267950" cy="267900"/>
            </a:xfrm>
            <a:custGeom>
              <a:avLst/>
              <a:gdLst/>
              <a:ahLst/>
              <a:cxnLst/>
              <a:rect l="l" t="t" r="r" b="b"/>
              <a:pathLst>
                <a:path w="10718" h="10716" extrusionOk="0">
                  <a:moveTo>
                    <a:pt x="10717" y="1"/>
                  </a:moveTo>
                  <a:lnTo>
                    <a:pt x="1" y="10715"/>
                  </a:lnTo>
                  <a:cubicBezTo>
                    <a:pt x="4703" y="8488"/>
                    <a:pt x="8489" y="4703"/>
                    <a:pt x="10717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2125123861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only 1">
  <p:cSld name="Title only 1">
    <p:spTree>
      <p:nvGrpSpPr>
        <p:cNvPr id="1" name="Shape 1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91" name="Google Shape;1191;p26"/>
          <p:cNvSpPr/>
          <p:nvPr/>
        </p:nvSpPr>
        <p:spPr>
          <a:xfrm>
            <a:off x="-1724225" y="2437050"/>
            <a:ext cx="4212300" cy="4212300"/>
          </a:xfrm>
          <a:prstGeom prst="ellipse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1192" name="Google Shape;1192;p26"/>
          <p:cNvGrpSpPr/>
          <p:nvPr/>
        </p:nvGrpSpPr>
        <p:grpSpPr>
          <a:xfrm rot="-5400000" flipH="1">
            <a:off x="-667470" y="2173426"/>
            <a:ext cx="1316550" cy="1316550"/>
            <a:chOff x="238125" y="2189800"/>
            <a:chExt cx="1119325" cy="1119325"/>
          </a:xfrm>
        </p:grpSpPr>
        <p:sp>
          <p:nvSpPr>
            <p:cNvPr id="1193" name="Google Shape;1193;p26"/>
            <p:cNvSpPr/>
            <p:nvPr/>
          </p:nvSpPr>
          <p:spPr>
            <a:xfrm>
              <a:off x="289900" y="2241600"/>
              <a:ext cx="267950" cy="267950"/>
            </a:xfrm>
            <a:custGeom>
              <a:avLst/>
              <a:gdLst/>
              <a:ahLst/>
              <a:cxnLst/>
              <a:rect l="l" t="t" r="r" b="b"/>
              <a:pathLst>
                <a:path w="10718" h="10718" extrusionOk="0">
                  <a:moveTo>
                    <a:pt x="10717" y="1"/>
                  </a:moveTo>
                  <a:lnTo>
                    <a:pt x="10717" y="1"/>
                  </a:lnTo>
                  <a:cubicBezTo>
                    <a:pt x="8382" y="1104"/>
                    <a:pt x="6257" y="2604"/>
                    <a:pt x="4431" y="4431"/>
                  </a:cubicBezTo>
                  <a:cubicBezTo>
                    <a:pt x="2604" y="6255"/>
                    <a:pt x="1106" y="8382"/>
                    <a:pt x="1" y="10717"/>
                  </a:cubicBezTo>
                  <a:lnTo>
                    <a:pt x="10717" y="1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4" name="Google Shape;1194;p26"/>
            <p:cNvSpPr/>
            <p:nvPr/>
          </p:nvSpPr>
          <p:spPr>
            <a:xfrm>
              <a:off x="238275" y="2189975"/>
              <a:ext cx="511350" cy="511375"/>
            </a:xfrm>
            <a:custGeom>
              <a:avLst/>
              <a:gdLst/>
              <a:ahLst/>
              <a:cxnLst/>
              <a:rect l="l" t="t" r="r" b="b"/>
              <a:pathLst>
                <a:path w="20454" h="20455" extrusionOk="0">
                  <a:moveTo>
                    <a:pt x="20453" y="1"/>
                  </a:moveTo>
                  <a:lnTo>
                    <a:pt x="20453" y="1"/>
                  </a:lnTo>
                  <a:cubicBezTo>
                    <a:pt x="19736" y="63"/>
                    <a:pt x="19023" y="158"/>
                    <a:pt x="18312" y="287"/>
                  </a:cubicBezTo>
                  <a:lnTo>
                    <a:pt x="289" y="18312"/>
                  </a:lnTo>
                  <a:cubicBezTo>
                    <a:pt x="159" y="19023"/>
                    <a:pt x="63" y="19736"/>
                    <a:pt x="1" y="20455"/>
                  </a:cubicBezTo>
                  <a:lnTo>
                    <a:pt x="20453" y="1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5" name="Google Shape;1195;p26"/>
            <p:cNvSpPr/>
            <p:nvPr/>
          </p:nvSpPr>
          <p:spPr>
            <a:xfrm>
              <a:off x="238125" y="2189800"/>
              <a:ext cx="646975" cy="646950"/>
            </a:xfrm>
            <a:custGeom>
              <a:avLst/>
              <a:gdLst/>
              <a:ahLst/>
              <a:cxnLst/>
              <a:rect l="l" t="t" r="r" b="b"/>
              <a:pathLst>
                <a:path w="25879" h="25878" extrusionOk="0">
                  <a:moveTo>
                    <a:pt x="24220" y="1"/>
                  </a:moveTo>
                  <a:lnTo>
                    <a:pt x="0" y="24221"/>
                  </a:lnTo>
                  <a:cubicBezTo>
                    <a:pt x="46" y="24774"/>
                    <a:pt x="111" y="25327"/>
                    <a:pt x="197" y="25877"/>
                  </a:cubicBezTo>
                  <a:lnTo>
                    <a:pt x="25878" y="197"/>
                  </a:lnTo>
                  <a:cubicBezTo>
                    <a:pt x="25328" y="111"/>
                    <a:pt x="24775" y="45"/>
                    <a:pt x="24220" y="1"/>
                  </a:cubicBez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6" name="Google Shape;1196;p26"/>
            <p:cNvSpPr/>
            <p:nvPr/>
          </p:nvSpPr>
          <p:spPr>
            <a:xfrm>
              <a:off x="260500" y="2212175"/>
              <a:ext cx="735575" cy="735575"/>
            </a:xfrm>
            <a:custGeom>
              <a:avLst/>
              <a:gdLst/>
              <a:ahLst/>
              <a:cxnLst/>
              <a:rect l="l" t="t" r="r" b="b"/>
              <a:pathLst>
                <a:path w="29423" h="29423" extrusionOk="0">
                  <a:moveTo>
                    <a:pt x="28037" y="0"/>
                  </a:moveTo>
                  <a:lnTo>
                    <a:pt x="1" y="28036"/>
                  </a:lnTo>
                  <a:cubicBezTo>
                    <a:pt x="143" y="28502"/>
                    <a:pt x="298" y="28964"/>
                    <a:pt x="470" y="29423"/>
                  </a:cubicBezTo>
                  <a:lnTo>
                    <a:pt x="29422" y="471"/>
                  </a:lnTo>
                  <a:cubicBezTo>
                    <a:pt x="28965" y="299"/>
                    <a:pt x="28503" y="142"/>
                    <a:pt x="28037" y="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7" name="Google Shape;1197;p26"/>
            <p:cNvSpPr/>
            <p:nvPr/>
          </p:nvSpPr>
          <p:spPr>
            <a:xfrm>
              <a:off x="301425" y="2253075"/>
              <a:ext cx="788775" cy="788825"/>
            </a:xfrm>
            <a:custGeom>
              <a:avLst/>
              <a:gdLst/>
              <a:ahLst/>
              <a:cxnLst/>
              <a:rect l="l" t="t" r="r" b="b"/>
              <a:pathLst>
                <a:path w="31551" h="31553" extrusionOk="0">
                  <a:moveTo>
                    <a:pt x="30370" y="1"/>
                  </a:moveTo>
                  <a:lnTo>
                    <a:pt x="0" y="30371"/>
                  </a:lnTo>
                  <a:cubicBezTo>
                    <a:pt x="211" y="30770"/>
                    <a:pt x="436" y="31164"/>
                    <a:pt x="675" y="31552"/>
                  </a:cubicBezTo>
                  <a:lnTo>
                    <a:pt x="31551" y="675"/>
                  </a:lnTo>
                  <a:cubicBezTo>
                    <a:pt x="31163" y="437"/>
                    <a:pt x="30770" y="213"/>
                    <a:pt x="30370" y="1"/>
                  </a:cubicBez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8" name="Google Shape;1198;p26"/>
            <p:cNvSpPr/>
            <p:nvPr/>
          </p:nvSpPr>
          <p:spPr>
            <a:xfrm>
              <a:off x="356800" y="2308450"/>
              <a:ext cx="813925" cy="813925"/>
            </a:xfrm>
            <a:custGeom>
              <a:avLst/>
              <a:gdLst/>
              <a:ahLst/>
              <a:cxnLst/>
              <a:rect l="l" t="t" r="r" b="b"/>
              <a:pathLst>
                <a:path w="32557" h="32557" extrusionOk="0">
                  <a:moveTo>
                    <a:pt x="31547" y="1"/>
                  </a:moveTo>
                  <a:lnTo>
                    <a:pt x="0" y="31549"/>
                  </a:lnTo>
                  <a:cubicBezTo>
                    <a:pt x="270" y="31890"/>
                    <a:pt x="552" y="32227"/>
                    <a:pt x="846" y="32556"/>
                  </a:cubicBezTo>
                  <a:lnTo>
                    <a:pt x="32556" y="848"/>
                  </a:lnTo>
                  <a:cubicBezTo>
                    <a:pt x="32226" y="554"/>
                    <a:pt x="31890" y="272"/>
                    <a:pt x="31547" y="1"/>
                  </a:cubicBez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199" name="Google Shape;1199;p26"/>
            <p:cNvSpPr/>
            <p:nvPr/>
          </p:nvSpPr>
          <p:spPr>
            <a:xfrm>
              <a:off x="424825" y="2376525"/>
              <a:ext cx="813925" cy="813925"/>
            </a:xfrm>
            <a:custGeom>
              <a:avLst/>
              <a:gdLst/>
              <a:ahLst/>
              <a:cxnLst/>
              <a:rect l="l" t="t" r="r" b="b"/>
              <a:pathLst>
                <a:path w="32557" h="32557" extrusionOk="0">
                  <a:moveTo>
                    <a:pt x="31711" y="1"/>
                  </a:moveTo>
                  <a:lnTo>
                    <a:pt x="1" y="31709"/>
                  </a:lnTo>
                  <a:cubicBezTo>
                    <a:pt x="331" y="32003"/>
                    <a:pt x="667" y="32286"/>
                    <a:pt x="1010" y="32556"/>
                  </a:cubicBezTo>
                  <a:lnTo>
                    <a:pt x="32557" y="1010"/>
                  </a:lnTo>
                  <a:cubicBezTo>
                    <a:pt x="32287" y="667"/>
                    <a:pt x="32005" y="330"/>
                    <a:pt x="31711" y="1"/>
                  </a:cubicBez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0" name="Google Shape;1200;p26"/>
            <p:cNvSpPr/>
            <p:nvPr/>
          </p:nvSpPr>
          <p:spPr>
            <a:xfrm>
              <a:off x="505350" y="2457000"/>
              <a:ext cx="788775" cy="788875"/>
            </a:xfrm>
            <a:custGeom>
              <a:avLst/>
              <a:gdLst/>
              <a:ahLst/>
              <a:cxnLst/>
              <a:rect l="l" t="t" r="r" b="b"/>
              <a:pathLst>
                <a:path w="31551" h="31555" extrusionOk="0">
                  <a:moveTo>
                    <a:pt x="30878" y="1"/>
                  </a:moveTo>
                  <a:lnTo>
                    <a:pt x="0" y="30879"/>
                  </a:lnTo>
                  <a:cubicBezTo>
                    <a:pt x="388" y="31116"/>
                    <a:pt x="782" y="31340"/>
                    <a:pt x="1181" y="31554"/>
                  </a:cubicBezTo>
                  <a:lnTo>
                    <a:pt x="31551" y="1182"/>
                  </a:lnTo>
                  <a:cubicBezTo>
                    <a:pt x="31340" y="783"/>
                    <a:pt x="31116" y="389"/>
                    <a:pt x="30878" y="1"/>
                  </a:cubicBez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1" name="Google Shape;1201;p26"/>
            <p:cNvSpPr/>
            <p:nvPr/>
          </p:nvSpPr>
          <p:spPr>
            <a:xfrm>
              <a:off x="599500" y="2551175"/>
              <a:ext cx="735550" cy="735550"/>
            </a:xfrm>
            <a:custGeom>
              <a:avLst/>
              <a:gdLst/>
              <a:ahLst/>
              <a:cxnLst/>
              <a:rect l="l" t="t" r="r" b="b"/>
              <a:pathLst>
                <a:path w="29422" h="29422" extrusionOk="0">
                  <a:moveTo>
                    <a:pt x="28952" y="1"/>
                  </a:moveTo>
                  <a:lnTo>
                    <a:pt x="0" y="28953"/>
                  </a:lnTo>
                  <a:cubicBezTo>
                    <a:pt x="457" y="29125"/>
                    <a:pt x="919" y="29282"/>
                    <a:pt x="1385" y="29422"/>
                  </a:cubicBezTo>
                  <a:lnTo>
                    <a:pt x="29421" y="1386"/>
                  </a:lnTo>
                  <a:cubicBezTo>
                    <a:pt x="29281" y="920"/>
                    <a:pt x="29124" y="458"/>
                    <a:pt x="28952" y="1"/>
                  </a:cubicBez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2" name="Google Shape;1202;p26"/>
            <p:cNvSpPr/>
            <p:nvPr/>
          </p:nvSpPr>
          <p:spPr>
            <a:xfrm>
              <a:off x="710450" y="2662150"/>
              <a:ext cx="647000" cy="646975"/>
            </a:xfrm>
            <a:custGeom>
              <a:avLst/>
              <a:gdLst/>
              <a:ahLst/>
              <a:cxnLst/>
              <a:rect l="l" t="t" r="r" b="b"/>
              <a:pathLst>
                <a:path w="25880" h="25879" extrusionOk="0">
                  <a:moveTo>
                    <a:pt x="25682" y="1"/>
                  </a:moveTo>
                  <a:lnTo>
                    <a:pt x="1" y="25681"/>
                  </a:lnTo>
                  <a:cubicBezTo>
                    <a:pt x="552" y="25767"/>
                    <a:pt x="1104" y="25833"/>
                    <a:pt x="1659" y="25879"/>
                  </a:cubicBezTo>
                  <a:lnTo>
                    <a:pt x="25879" y="1659"/>
                  </a:lnTo>
                  <a:cubicBezTo>
                    <a:pt x="25834" y="1104"/>
                    <a:pt x="25768" y="551"/>
                    <a:pt x="25682" y="1"/>
                  </a:cubicBez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3" name="Google Shape;1203;p26"/>
            <p:cNvSpPr/>
            <p:nvPr/>
          </p:nvSpPr>
          <p:spPr>
            <a:xfrm>
              <a:off x="845925" y="2797575"/>
              <a:ext cx="511350" cy="511350"/>
            </a:xfrm>
            <a:custGeom>
              <a:avLst/>
              <a:gdLst/>
              <a:ahLst/>
              <a:cxnLst/>
              <a:rect l="l" t="t" r="r" b="b"/>
              <a:pathLst>
                <a:path w="20454" h="20454" extrusionOk="0">
                  <a:moveTo>
                    <a:pt x="20453" y="1"/>
                  </a:moveTo>
                  <a:lnTo>
                    <a:pt x="1" y="20453"/>
                  </a:lnTo>
                  <a:cubicBezTo>
                    <a:pt x="718" y="20391"/>
                    <a:pt x="1431" y="20297"/>
                    <a:pt x="2142" y="20167"/>
                  </a:cubicBezTo>
                  <a:lnTo>
                    <a:pt x="20165" y="2142"/>
                  </a:lnTo>
                  <a:cubicBezTo>
                    <a:pt x="20295" y="1433"/>
                    <a:pt x="20391" y="720"/>
                    <a:pt x="20453" y="1"/>
                  </a:cubicBez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4" name="Google Shape;1204;p26"/>
            <p:cNvSpPr/>
            <p:nvPr/>
          </p:nvSpPr>
          <p:spPr>
            <a:xfrm>
              <a:off x="1037700" y="2989400"/>
              <a:ext cx="267950" cy="267900"/>
            </a:xfrm>
            <a:custGeom>
              <a:avLst/>
              <a:gdLst/>
              <a:ahLst/>
              <a:cxnLst/>
              <a:rect l="l" t="t" r="r" b="b"/>
              <a:pathLst>
                <a:path w="10718" h="10716" extrusionOk="0">
                  <a:moveTo>
                    <a:pt x="10717" y="1"/>
                  </a:moveTo>
                  <a:lnTo>
                    <a:pt x="1" y="10715"/>
                  </a:lnTo>
                  <a:cubicBezTo>
                    <a:pt x="4703" y="8488"/>
                    <a:pt x="8489" y="4703"/>
                    <a:pt x="10717" y="1"/>
                  </a:cubicBez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05" name="Google Shape;1205;p26"/>
          <p:cNvGrpSpPr/>
          <p:nvPr/>
        </p:nvGrpSpPr>
        <p:grpSpPr>
          <a:xfrm>
            <a:off x="8424307" y="-879231"/>
            <a:ext cx="1540984" cy="1418731"/>
            <a:chOff x="984400" y="3436950"/>
            <a:chExt cx="2214375" cy="2038700"/>
          </a:xfrm>
        </p:grpSpPr>
        <p:sp>
          <p:nvSpPr>
            <p:cNvPr id="1206" name="Google Shape;1206;p26"/>
            <p:cNvSpPr/>
            <p:nvPr/>
          </p:nvSpPr>
          <p:spPr>
            <a:xfrm>
              <a:off x="984400" y="3436950"/>
              <a:ext cx="1602525" cy="1166400"/>
            </a:xfrm>
            <a:custGeom>
              <a:avLst/>
              <a:gdLst/>
              <a:ahLst/>
              <a:cxnLst/>
              <a:rect l="l" t="t" r="r" b="b"/>
              <a:pathLst>
                <a:path w="64101" h="46656" extrusionOk="0">
                  <a:moveTo>
                    <a:pt x="61659" y="0"/>
                  </a:moveTo>
                  <a:lnTo>
                    <a:pt x="0" y="43166"/>
                  </a:lnTo>
                  <a:lnTo>
                    <a:pt x="2442" y="46655"/>
                  </a:lnTo>
                  <a:lnTo>
                    <a:pt x="64101" y="3489"/>
                  </a:lnTo>
                  <a:lnTo>
                    <a:pt x="61659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7" name="Google Shape;1207;p26"/>
            <p:cNvSpPr/>
            <p:nvPr/>
          </p:nvSpPr>
          <p:spPr>
            <a:xfrm>
              <a:off x="1106500" y="3611400"/>
              <a:ext cx="1602550" cy="1166400"/>
            </a:xfrm>
            <a:custGeom>
              <a:avLst/>
              <a:gdLst/>
              <a:ahLst/>
              <a:cxnLst/>
              <a:rect l="l" t="t" r="r" b="b"/>
              <a:pathLst>
                <a:path w="64102" h="46656" extrusionOk="0">
                  <a:moveTo>
                    <a:pt x="61659" y="0"/>
                  </a:moveTo>
                  <a:lnTo>
                    <a:pt x="1" y="43167"/>
                  </a:lnTo>
                  <a:lnTo>
                    <a:pt x="2443" y="46656"/>
                  </a:lnTo>
                  <a:lnTo>
                    <a:pt x="64102" y="3490"/>
                  </a:lnTo>
                  <a:lnTo>
                    <a:pt x="61659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8" name="Google Shape;1208;p26"/>
            <p:cNvSpPr/>
            <p:nvPr/>
          </p:nvSpPr>
          <p:spPr>
            <a:xfrm>
              <a:off x="1228625" y="3785850"/>
              <a:ext cx="1603800" cy="1166425"/>
            </a:xfrm>
            <a:custGeom>
              <a:avLst/>
              <a:gdLst/>
              <a:ahLst/>
              <a:cxnLst/>
              <a:rect l="l" t="t" r="r" b="b"/>
              <a:pathLst>
                <a:path w="64152" h="46657" extrusionOk="0">
                  <a:moveTo>
                    <a:pt x="61709" y="1"/>
                  </a:moveTo>
                  <a:lnTo>
                    <a:pt x="1" y="43167"/>
                  </a:lnTo>
                  <a:lnTo>
                    <a:pt x="2443" y="46656"/>
                  </a:lnTo>
                  <a:lnTo>
                    <a:pt x="64151" y="3490"/>
                  </a:lnTo>
                  <a:lnTo>
                    <a:pt x="61709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09" name="Google Shape;1209;p26"/>
            <p:cNvSpPr/>
            <p:nvPr/>
          </p:nvSpPr>
          <p:spPr>
            <a:xfrm>
              <a:off x="1350750" y="3960325"/>
              <a:ext cx="1603800" cy="1166400"/>
            </a:xfrm>
            <a:custGeom>
              <a:avLst/>
              <a:gdLst/>
              <a:ahLst/>
              <a:cxnLst/>
              <a:rect l="l" t="t" r="r" b="b"/>
              <a:pathLst>
                <a:path w="64152" h="46656" extrusionOk="0">
                  <a:moveTo>
                    <a:pt x="61709" y="0"/>
                  </a:moveTo>
                  <a:lnTo>
                    <a:pt x="0" y="43166"/>
                  </a:lnTo>
                  <a:lnTo>
                    <a:pt x="2443" y="46655"/>
                  </a:lnTo>
                  <a:lnTo>
                    <a:pt x="64151" y="3489"/>
                  </a:lnTo>
                  <a:lnTo>
                    <a:pt x="61709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0" name="Google Shape;1210;p26"/>
            <p:cNvSpPr/>
            <p:nvPr/>
          </p:nvSpPr>
          <p:spPr>
            <a:xfrm>
              <a:off x="1472875" y="4134775"/>
              <a:ext cx="1603800" cy="1166400"/>
            </a:xfrm>
            <a:custGeom>
              <a:avLst/>
              <a:gdLst/>
              <a:ahLst/>
              <a:cxnLst/>
              <a:rect l="l" t="t" r="r" b="b"/>
              <a:pathLst>
                <a:path w="64152" h="46656" extrusionOk="0">
                  <a:moveTo>
                    <a:pt x="61709" y="1"/>
                  </a:moveTo>
                  <a:lnTo>
                    <a:pt x="0" y="43167"/>
                  </a:lnTo>
                  <a:lnTo>
                    <a:pt x="2443" y="46656"/>
                  </a:lnTo>
                  <a:lnTo>
                    <a:pt x="64151" y="3490"/>
                  </a:lnTo>
                  <a:lnTo>
                    <a:pt x="61709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1" name="Google Shape;1211;p26"/>
            <p:cNvSpPr/>
            <p:nvPr/>
          </p:nvSpPr>
          <p:spPr>
            <a:xfrm>
              <a:off x="1595000" y="4310475"/>
              <a:ext cx="1603775" cy="1165175"/>
            </a:xfrm>
            <a:custGeom>
              <a:avLst/>
              <a:gdLst/>
              <a:ahLst/>
              <a:cxnLst/>
              <a:rect l="l" t="t" r="r" b="b"/>
              <a:pathLst>
                <a:path w="64151" h="46607" extrusionOk="0">
                  <a:moveTo>
                    <a:pt x="61709" y="1"/>
                  </a:moveTo>
                  <a:lnTo>
                    <a:pt x="0" y="43117"/>
                  </a:lnTo>
                  <a:lnTo>
                    <a:pt x="2443" y="46606"/>
                  </a:lnTo>
                  <a:lnTo>
                    <a:pt x="64151" y="3490"/>
                  </a:lnTo>
                  <a:lnTo>
                    <a:pt x="61709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2" name="Google Shape;1212;p26"/>
          <p:cNvGrpSpPr/>
          <p:nvPr/>
        </p:nvGrpSpPr>
        <p:grpSpPr>
          <a:xfrm>
            <a:off x="7797315" y="4698727"/>
            <a:ext cx="1253960" cy="345149"/>
            <a:chOff x="4493500" y="4121075"/>
            <a:chExt cx="1801925" cy="495975"/>
          </a:xfrm>
        </p:grpSpPr>
        <p:sp>
          <p:nvSpPr>
            <p:cNvPr id="1213" name="Google Shape;1213;p26"/>
            <p:cNvSpPr/>
            <p:nvPr/>
          </p:nvSpPr>
          <p:spPr>
            <a:xfrm>
              <a:off x="4493500" y="4121075"/>
              <a:ext cx="993175" cy="495975"/>
            </a:xfrm>
            <a:custGeom>
              <a:avLst/>
              <a:gdLst/>
              <a:ahLst/>
              <a:cxnLst/>
              <a:rect l="l" t="t" r="r" b="b"/>
              <a:pathLst>
                <a:path w="39727" h="19839" extrusionOk="0">
                  <a:moveTo>
                    <a:pt x="19789" y="0"/>
                  </a:moveTo>
                  <a:lnTo>
                    <a:pt x="0" y="19839"/>
                  </a:lnTo>
                  <a:lnTo>
                    <a:pt x="39727" y="19839"/>
                  </a:lnTo>
                  <a:lnTo>
                    <a:pt x="19789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4" name="Google Shape;1214;p26"/>
            <p:cNvSpPr/>
            <p:nvPr/>
          </p:nvSpPr>
          <p:spPr>
            <a:xfrm>
              <a:off x="5310950" y="4121075"/>
              <a:ext cx="984475" cy="495975"/>
            </a:xfrm>
            <a:custGeom>
              <a:avLst/>
              <a:gdLst/>
              <a:ahLst/>
              <a:cxnLst/>
              <a:rect l="l" t="t" r="r" b="b"/>
              <a:pathLst>
                <a:path w="39379" h="19839" extrusionOk="0">
                  <a:moveTo>
                    <a:pt x="19789" y="0"/>
                  </a:moveTo>
                  <a:lnTo>
                    <a:pt x="1" y="19839"/>
                  </a:lnTo>
                  <a:lnTo>
                    <a:pt x="39378" y="19839"/>
                  </a:lnTo>
                  <a:lnTo>
                    <a:pt x="19789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15" name="Google Shape;1215;p26"/>
          <p:cNvGrpSpPr/>
          <p:nvPr/>
        </p:nvGrpSpPr>
        <p:grpSpPr>
          <a:xfrm>
            <a:off x="-182775" y="4938070"/>
            <a:ext cx="708496" cy="105812"/>
            <a:chOff x="4917175" y="3058125"/>
            <a:chExt cx="1018100" cy="152050"/>
          </a:xfrm>
        </p:grpSpPr>
        <p:sp>
          <p:nvSpPr>
            <p:cNvPr id="1216" name="Google Shape;1216;p26"/>
            <p:cNvSpPr/>
            <p:nvPr/>
          </p:nvSpPr>
          <p:spPr>
            <a:xfrm>
              <a:off x="5156425" y="3058125"/>
              <a:ext cx="304075" cy="152050"/>
            </a:xfrm>
            <a:custGeom>
              <a:avLst/>
              <a:gdLst/>
              <a:ahLst/>
              <a:cxnLst/>
              <a:rect l="l" t="t" r="r" b="b"/>
              <a:pathLst>
                <a:path w="12163" h="6082" fill="none" extrusionOk="0">
                  <a:moveTo>
                    <a:pt x="1" y="0"/>
                  </a:moveTo>
                  <a:lnTo>
                    <a:pt x="6082" y="6081"/>
                  </a:lnTo>
                  <a:lnTo>
                    <a:pt x="12163" y="0"/>
                  </a:lnTo>
                </a:path>
              </a:pathLst>
            </a:custGeom>
            <a:solidFill>
              <a:schemeClr val="lt1"/>
            </a:solidFill>
            <a:ln w="93450" cap="flat" cmpd="sng">
              <a:solidFill>
                <a:schemeClr val="lt1"/>
              </a:solidFill>
              <a:prstDash val="solid"/>
              <a:miter lim="4984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7" name="Google Shape;1217;p26"/>
            <p:cNvSpPr/>
            <p:nvPr/>
          </p:nvSpPr>
          <p:spPr>
            <a:xfrm>
              <a:off x="5631200" y="3058125"/>
              <a:ext cx="304075" cy="152050"/>
            </a:xfrm>
            <a:custGeom>
              <a:avLst/>
              <a:gdLst/>
              <a:ahLst/>
              <a:cxnLst/>
              <a:rect l="l" t="t" r="r" b="b"/>
              <a:pathLst>
                <a:path w="12163" h="6082" fill="none" extrusionOk="0">
                  <a:moveTo>
                    <a:pt x="1" y="0"/>
                  </a:moveTo>
                  <a:lnTo>
                    <a:pt x="6082" y="6081"/>
                  </a:lnTo>
                  <a:lnTo>
                    <a:pt x="12163" y="0"/>
                  </a:lnTo>
                </a:path>
              </a:pathLst>
            </a:custGeom>
            <a:solidFill>
              <a:schemeClr val="lt1"/>
            </a:solidFill>
            <a:ln w="93450" cap="flat" cmpd="sng">
              <a:solidFill>
                <a:schemeClr val="lt1"/>
              </a:solidFill>
              <a:prstDash val="solid"/>
              <a:miter lim="4984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8" name="Google Shape;1218;p26"/>
            <p:cNvSpPr/>
            <p:nvPr/>
          </p:nvSpPr>
          <p:spPr>
            <a:xfrm>
              <a:off x="5394450" y="3058125"/>
              <a:ext cx="304075" cy="152050"/>
            </a:xfrm>
            <a:custGeom>
              <a:avLst/>
              <a:gdLst/>
              <a:ahLst/>
              <a:cxnLst/>
              <a:rect l="l" t="t" r="r" b="b"/>
              <a:pathLst>
                <a:path w="12163" h="6082" fill="none" extrusionOk="0">
                  <a:moveTo>
                    <a:pt x="0" y="0"/>
                  </a:moveTo>
                  <a:lnTo>
                    <a:pt x="6081" y="6081"/>
                  </a:lnTo>
                  <a:lnTo>
                    <a:pt x="12162" y="0"/>
                  </a:lnTo>
                </a:path>
              </a:pathLst>
            </a:custGeom>
            <a:solidFill>
              <a:schemeClr val="lt1"/>
            </a:solidFill>
            <a:ln w="93450" cap="flat" cmpd="sng">
              <a:solidFill>
                <a:schemeClr val="lt1"/>
              </a:solidFill>
              <a:prstDash val="solid"/>
              <a:miter lim="4984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19" name="Google Shape;1219;p26"/>
            <p:cNvSpPr/>
            <p:nvPr/>
          </p:nvSpPr>
          <p:spPr>
            <a:xfrm>
              <a:off x="4917175" y="3058125"/>
              <a:ext cx="304075" cy="152050"/>
            </a:xfrm>
            <a:custGeom>
              <a:avLst/>
              <a:gdLst/>
              <a:ahLst/>
              <a:cxnLst/>
              <a:rect l="l" t="t" r="r" b="b"/>
              <a:pathLst>
                <a:path w="12163" h="6082" fill="none" extrusionOk="0">
                  <a:moveTo>
                    <a:pt x="0" y="0"/>
                  </a:moveTo>
                  <a:lnTo>
                    <a:pt x="6082" y="6081"/>
                  </a:lnTo>
                  <a:lnTo>
                    <a:pt x="12163" y="0"/>
                  </a:lnTo>
                </a:path>
              </a:pathLst>
            </a:custGeom>
            <a:solidFill>
              <a:schemeClr val="lt1"/>
            </a:solidFill>
            <a:ln w="93450" cap="flat" cmpd="sng">
              <a:solidFill>
                <a:schemeClr val="lt1"/>
              </a:solidFill>
              <a:prstDash val="solid"/>
              <a:miter lim="49845"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20" name="Google Shape;1220;p26"/>
          <p:cNvGrpSpPr/>
          <p:nvPr/>
        </p:nvGrpSpPr>
        <p:grpSpPr>
          <a:xfrm rot="-5400000" flipH="1">
            <a:off x="8648752" y="1842050"/>
            <a:ext cx="1979302" cy="1979302"/>
            <a:chOff x="238125" y="2189800"/>
            <a:chExt cx="1119325" cy="1119325"/>
          </a:xfrm>
        </p:grpSpPr>
        <p:sp>
          <p:nvSpPr>
            <p:cNvPr id="1221" name="Google Shape;1221;p26"/>
            <p:cNvSpPr/>
            <p:nvPr/>
          </p:nvSpPr>
          <p:spPr>
            <a:xfrm>
              <a:off x="289900" y="2241600"/>
              <a:ext cx="267950" cy="267950"/>
            </a:xfrm>
            <a:custGeom>
              <a:avLst/>
              <a:gdLst/>
              <a:ahLst/>
              <a:cxnLst/>
              <a:rect l="l" t="t" r="r" b="b"/>
              <a:pathLst>
                <a:path w="10718" h="10718" extrusionOk="0">
                  <a:moveTo>
                    <a:pt x="10717" y="1"/>
                  </a:moveTo>
                  <a:lnTo>
                    <a:pt x="10717" y="1"/>
                  </a:lnTo>
                  <a:cubicBezTo>
                    <a:pt x="8382" y="1104"/>
                    <a:pt x="6257" y="2604"/>
                    <a:pt x="4431" y="4431"/>
                  </a:cubicBezTo>
                  <a:cubicBezTo>
                    <a:pt x="2604" y="6255"/>
                    <a:pt x="1106" y="8382"/>
                    <a:pt x="1" y="10717"/>
                  </a:cubicBezTo>
                  <a:lnTo>
                    <a:pt x="10717" y="1"/>
                  </a:ln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2" name="Google Shape;1222;p26"/>
            <p:cNvSpPr/>
            <p:nvPr/>
          </p:nvSpPr>
          <p:spPr>
            <a:xfrm>
              <a:off x="238275" y="2189975"/>
              <a:ext cx="511350" cy="511375"/>
            </a:xfrm>
            <a:custGeom>
              <a:avLst/>
              <a:gdLst/>
              <a:ahLst/>
              <a:cxnLst/>
              <a:rect l="l" t="t" r="r" b="b"/>
              <a:pathLst>
                <a:path w="20454" h="20455" extrusionOk="0">
                  <a:moveTo>
                    <a:pt x="20453" y="1"/>
                  </a:moveTo>
                  <a:lnTo>
                    <a:pt x="20453" y="1"/>
                  </a:lnTo>
                  <a:cubicBezTo>
                    <a:pt x="19736" y="63"/>
                    <a:pt x="19023" y="158"/>
                    <a:pt x="18312" y="287"/>
                  </a:cubicBezTo>
                  <a:lnTo>
                    <a:pt x="289" y="18312"/>
                  </a:lnTo>
                  <a:cubicBezTo>
                    <a:pt x="159" y="19023"/>
                    <a:pt x="63" y="19736"/>
                    <a:pt x="1" y="20455"/>
                  </a:cubicBezTo>
                  <a:lnTo>
                    <a:pt x="20453" y="1"/>
                  </a:ln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3" name="Google Shape;1223;p26"/>
            <p:cNvSpPr/>
            <p:nvPr/>
          </p:nvSpPr>
          <p:spPr>
            <a:xfrm>
              <a:off x="238125" y="2189800"/>
              <a:ext cx="646975" cy="646950"/>
            </a:xfrm>
            <a:custGeom>
              <a:avLst/>
              <a:gdLst/>
              <a:ahLst/>
              <a:cxnLst/>
              <a:rect l="l" t="t" r="r" b="b"/>
              <a:pathLst>
                <a:path w="25879" h="25878" extrusionOk="0">
                  <a:moveTo>
                    <a:pt x="24220" y="1"/>
                  </a:moveTo>
                  <a:lnTo>
                    <a:pt x="0" y="24221"/>
                  </a:lnTo>
                  <a:cubicBezTo>
                    <a:pt x="46" y="24774"/>
                    <a:pt x="111" y="25327"/>
                    <a:pt x="197" y="25877"/>
                  </a:cubicBezTo>
                  <a:lnTo>
                    <a:pt x="25878" y="197"/>
                  </a:lnTo>
                  <a:cubicBezTo>
                    <a:pt x="25328" y="111"/>
                    <a:pt x="24775" y="45"/>
                    <a:pt x="24220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4" name="Google Shape;1224;p26"/>
            <p:cNvSpPr/>
            <p:nvPr/>
          </p:nvSpPr>
          <p:spPr>
            <a:xfrm>
              <a:off x="260500" y="2212175"/>
              <a:ext cx="735575" cy="735575"/>
            </a:xfrm>
            <a:custGeom>
              <a:avLst/>
              <a:gdLst/>
              <a:ahLst/>
              <a:cxnLst/>
              <a:rect l="l" t="t" r="r" b="b"/>
              <a:pathLst>
                <a:path w="29423" h="29423" extrusionOk="0">
                  <a:moveTo>
                    <a:pt x="28037" y="0"/>
                  </a:moveTo>
                  <a:lnTo>
                    <a:pt x="1" y="28036"/>
                  </a:lnTo>
                  <a:cubicBezTo>
                    <a:pt x="143" y="28502"/>
                    <a:pt x="298" y="28964"/>
                    <a:pt x="470" y="29423"/>
                  </a:cubicBezTo>
                  <a:lnTo>
                    <a:pt x="29422" y="471"/>
                  </a:lnTo>
                  <a:cubicBezTo>
                    <a:pt x="28965" y="299"/>
                    <a:pt x="28503" y="142"/>
                    <a:pt x="28037" y="0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5" name="Google Shape;1225;p26"/>
            <p:cNvSpPr/>
            <p:nvPr/>
          </p:nvSpPr>
          <p:spPr>
            <a:xfrm>
              <a:off x="301425" y="2253075"/>
              <a:ext cx="788775" cy="788825"/>
            </a:xfrm>
            <a:custGeom>
              <a:avLst/>
              <a:gdLst/>
              <a:ahLst/>
              <a:cxnLst/>
              <a:rect l="l" t="t" r="r" b="b"/>
              <a:pathLst>
                <a:path w="31551" h="31553" extrusionOk="0">
                  <a:moveTo>
                    <a:pt x="30370" y="1"/>
                  </a:moveTo>
                  <a:lnTo>
                    <a:pt x="0" y="30371"/>
                  </a:lnTo>
                  <a:cubicBezTo>
                    <a:pt x="211" y="30770"/>
                    <a:pt x="436" y="31164"/>
                    <a:pt x="675" y="31552"/>
                  </a:cubicBezTo>
                  <a:lnTo>
                    <a:pt x="31551" y="675"/>
                  </a:lnTo>
                  <a:cubicBezTo>
                    <a:pt x="31163" y="437"/>
                    <a:pt x="30770" y="213"/>
                    <a:pt x="30370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6" name="Google Shape;1226;p26"/>
            <p:cNvSpPr/>
            <p:nvPr/>
          </p:nvSpPr>
          <p:spPr>
            <a:xfrm>
              <a:off x="356800" y="2308450"/>
              <a:ext cx="813925" cy="813925"/>
            </a:xfrm>
            <a:custGeom>
              <a:avLst/>
              <a:gdLst/>
              <a:ahLst/>
              <a:cxnLst/>
              <a:rect l="l" t="t" r="r" b="b"/>
              <a:pathLst>
                <a:path w="32557" h="32557" extrusionOk="0">
                  <a:moveTo>
                    <a:pt x="31547" y="1"/>
                  </a:moveTo>
                  <a:lnTo>
                    <a:pt x="0" y="31549"/>
                  </a:lnTo>
                  <a:cubicBezTo>
                    <a:pt x="270" y="31890"/>
                    <a:pt x="552" y="32227"/>
                    <a:pt x="846" y="32556"/>
                  </a:cubicBezTo>
                  <a:lnTo>
                    <a:pt x="32556" y="848"/>
                  </a:lnTo>
                  <a:cubicBezTo>
                    <a:pt x="32226" y="554"/>
                    <a:pt x="31890" y="272"/>
                    <a:pt x="31547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7" name="Google Shape;1227;p26"/>
            <p:cNvSpPr/>
            <p:nvPr/>
          </p:nvSpPr>
          <p:spPr>
            <a:xfrm>
              <a:off x="424825" y="2376525"/>
              <a:ext cx="813925" cy="813925"/>
            </a:xfrm>
            <a:custGeom>
              <a:avLst/>
              <a:gdLst/>
              <a:ahLst/>
              <a:cxnLst/>
              <a:rect l="l" t="t" r="r" b="b"/>
              <a:pathLst>
                <a:path w="32557" h="32557" extrusionOk="0">
                  <a:moveTo>
                    <a:pt x="31711" y="1"/>
                  </a:moveTo>
                  <a:lnTo>
                    <a:pt x="1" y="31709"/>
                  </a:lnTo>
                  <a:cubicBezTo>
                    <a:pt x="331" y="32003"/>
                    <a:pt x="667" y="32286"/>
                    <a:pt x="1010" y="32556"/>
                  </a:cubicBezTo>
                  <a:lnTo>
                    <a:pt x="32557" y="1010"/>
                  </a:lnTo>
                  <a:cubicBezTo>
                    <a:pt x="32287" y="667"/>
                    <a:pt x="32005" y="330"/>
                    <a:pt x="31711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8" name="Google Shape;1228;p26"/>
            <p:cNvSpPr/>
            <p:nvPr/>
          </p:nvSpPr>
          <p:spPr>
            <a:xfrm>
              <a:off x="505350" y="2457000"/>
              <a:ext cx="788775" cy="788875"/>
            </a:xfrm>
            <a:custGeom>
              <a:avLst/>
              <a:gdLst/>
              <a:ahLst/>
              <a:cxnLst/>
              <a:rect l="l" t="t" r="r" b="b"/>
              <a:pathLst>
                <a:path w="31551" h="31555" extrusionOk="0">
                  <a:moveTo>
                    <a:pt x="30878" y="1"/>
                  </a:moveTo>
                  <a:lnTo>
                    <a:pt x="0" y="30879"/>
                  </a:lnTo>
                  <a:cubicBezTo>
                    <a:pt x="388" y="31116"/>
                    <a:pt x="782" y="31340"/>
                    <a:pt x="1181" y="31554"/>
                  </a:cubicBezTo>
                  <a:lnTo>
                    <a:pt x="31551" y="1182"/>
                  </a:lnTo>
                  <a:cubicBezTo>
                    <a:pt x="31340" y="783"/>
                    <a:pt x="31116" y="389"/>
                    <a:pt x="30878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29" name="Google Shape;1229;p26"/>
            <p:cNvSpPr/>
            <p:nvPr/>
          </p:nvSpPr>
          <p:spPr>
            <a:xfrm>
              <a:off x="599500" y="2551175"/>
              <a:ext cx="735550" cy="735550"/>
            </a:xfrm>
            <a:custGeom>
              <a:avLst/>
              <a:gdLst/>
              <a:ahLst/>
              <a:cxnLst/>
              <a:rect l="l" t="t" r="r" b="b"/>
              <a:pathLst>
                <a:path w="29422" h="29422" extrusionOk="0">
                  <a:moveTo>
                    <a:pt x="28952" y="1"/>
                  </a:moveTo>
                  <a:lnTo>
                    <a:pt x="0" y="28953"/>
                  </a:lnTo>
                  <a:cubicBezTo>
                    <a:pt x="457" y="29125"/>
                    <a:pt x="919" y="29282"/>
                    <a:pt x="1385" y="29422"/>
                  </a:cubicBezTo>
                  <a:lnTo>
                    <a:pt x="29421" y="1386"/>
                  </a:lnTo>
                  <a:cubicBezTo>
                    <a:pt x="29281" y="920"/>
                    <a:pt x="29124" y="458"/>
                    <a:pt x="28952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0" name="Google Shape;1230;p26"/>
            <p:cNvSpPr/>
            <p:nvPr/>
          </p:nvSpPr>
          <p:spPr>
            <a:xfrm>
              <a:off x="710450" y="2662150"/>
              <a:ext cx="647000" cy="646975"/>
            </a:xfrm>
            <a:custGeom>
              <a:avLst/>
              <a:gdLst/>
              <a:ahLst/>
              <a:cxnLst/>
              <a:rect l="l" t="t" r="r" b="b"/>
              <a:pathLst>
                <a:path w="25880" h="25879" extrusionOk="0">
                  <a:moveTo>
                    <a:pt x="25682" y="1"/>
                  </a:moveTo>
                  <a:lnTo>
                    <a:pt x="1" y="25681"/>
                  </a:lnTo>
                  <a:cubicBezTo>
                    <a:pt x="552" y="25767"/>
                    <a:pt x="1104" y="25833"/>
                    <a:pt x="1659" y="25879"/>
                  </a:cubicBezTo>
                  <a:lnTo>
                    <a:pt x="25879" y="1659"/>
                  </a:lnTo>
                  <a:cubicBezTo>
                    <a:pt x="25834" y="1104"/>
                    <a:pt x="25768" y="551"/>
                    <a:pt x="25682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1" name="Google Shape;1231;p26"/>
            <p:cNvSpPr/>
            <p:nvPr/>
          </p:nvSpPr>
          <p:spPr>
            <a:xfrm>
              <a:off x="845925" y="2797575"/>
              <a:ext cx="511350" cy="511350"/>
            </a:xfrm>
            <a:custGeom>
              <a:avLst/>
              <a:gdLst/>
              <a:ahLst/>
              <a:cxnLst/>
              <a:rect l="l" t="t" r="r" b="b"/>
              <a:pathLst>
                <a:path w="20454" h="20454" extrusionOk="0">
                  <a:moveTo>
                    <a:pt x="20453" y="1"/>
                  </a:moveTo>
                  <a:lnTo>
                    <a:pt x="1" y="20453"/>
                  </a:lnTo>
                  <a:cubicBezTo>
                    <a:pt x="718" y="20391"/>
                    <a:pt x="1431" y="20297"/>
                    <a:pt x="2142" y="20167"/>
                  </a:cubicBezTo>
                  <a:lnTo>
                    <a:pt x="20165" y="2142"/>
                  </a:lnTo>
                  <a:cubicBezTo>
                    <a:pt x="20295" y="1433"/>
                    <a:pt x="20391" y="720"/>
                    <a:pt x="20453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2" name="Google Shape;1232;p26"/>
            <p:cNvSpPr/>
            <p:nvPr/>
          </p:nvSpPr>
          <p:spPr>
            <a:xfrm>
              <a:off x="1037700" y="2989400"/>
              <a:ext cx="267950" cy="267900"/>
            </a:xfrm>
            <a:custGeom>
              <a:avLst/>
              <a:gdLst/>
              <a:ahLst/>
              <a:cxnLst/>
              <a:rect l="l" t="t" r="r" b="b"/>
              <a:pathLst>
                <a:path w="10718" h="10716" extrusionOk="0">
                  <a:moveTo>
                    <a:pt x="10717" y="1"/>
                  </a:moveTo>
                  <a:lnTo>
                    <a:pt x="1" y="10715"/>
                  </a:lnTo>
                  <a:cubicBezTo>
                    <a:pt x="4703" y="8488"/>
                    <a:pt x="8489" y="4703"/>
                    <a:pt x="10717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1233" name="Google Shape;1233;p26"/>
          <p:cNvGrpSpPr/>
          <p:nvPr/>
        </p:nvGrpSpPr>
        <p:grpSpPr>
          <a:xfrm rot="-5400000" flipH="1">
            <a:off x="-1330223" y="-879225"/>
            <a:ext cx="1979302" cy="1979302"/>
            <a:chOff x="238125" y="2189800"/>
            <a:chExt cx="1119325" cy="1119325"/>
          </a:xfrm>
        </p:grpSpPr>
        <p:sp>
          <p:nvSpPr>
            <p:cNvPr id="1234" name="Google Shape;1234;p26"/>
            <p:cNvSpPr/>
            <p:nvPr/>
          </p:nvSpPr>
          <p:spPr>
            <a:xfrm>
              <a:off x="289900" y="2241600"/>
              <a:ext cx="267950" cy="267950"/>
            </a:xfrm>
            <a:custGeom>
              <a:avLst/>
              <a:gdLst/>
              <a:ahLst/>
              <a:cxnLst/>
              <a:rect l="l" t="t" r="r" b="b"/>
              <a:pathLst>
                <a:path w="10718" h="10718" extrusionOk="0">
                  <a:moveTo>
                    <a:pt x="10717" y="1"/>
                  </a:moveTo>
                  <a:lnTo>
                    <a:pt x="10717" y="1"/>
                  </a:lnTo>
                  <a:cubicBezTo>
                    <a:pt x="8382" y="1104"/>
                    <a:pt x="6257" y="2604"/>
                    <a:pt x="4431" y="4431"/>
                  </a:cubicBezTo>
                  <a:cubicBezTo>
                    <a:pt x="2604" y="6255"/>
                    <a:pt x="1106" y="8382"/>
                    <a:pt x="1" y="10717"/>
                  </a:cubicBezTo>
                  <a:lnTo>
                    <a:pt x="10717" y="1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5" name="Google Shape;1235;p26"/>
            <p:cNvSpPr/>
            <p:nvPr/>
          </p:nvSpPr>
          <p:spPr>
            <a:xfrm>
              <a:off x="238275" y="2189975"/>
              <a:ext cx="511350" cy="511375"/>
            </a:xfrm>
            <a:custGeom>
              <a:avLst/>
              <a:gdLst/>
              <a:ahLst/>
              <a:cxnLst/>
              <a:rect l="l" t="t" r="r" b="b"/>
              <a:pathLst>
                <a:path w="20454" h="20455" extrusionOk="0">
                  <a:moveTo>
                    <a:pt x="20453" y="1"/>
                  </a:moveTo>
                  <a:lnTo>
                    <a:pt x="20453" y="1"/>
                  </a:lnTo>
                  <a:cubicBezTo>
                    <a:pt x="19736" y="63"/>
                    <a:pt x="19023" y="158"/>
                    <a:pt x="18312" y="287"/>
                  </a:cubicBezTo>
                  <a:lnTo>
                    <a:pt x="289" y="18312"/>
                  </a:lnTo>
                  <a:cubicBezTo>
                    <a:pt x="159" y="19023"/>
                    <a:pt x="63" y="19736"/>
                    <a:pt x="1" y="20455"/>
                  </a:cubicBezTo>
                  <a:lnTo>
                    <a:pt x="20453" y="1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6" name="Google Shape;1236;p26"/>
            <p:cNvSpPr/>
            <p:nvPr/>
          </p:nvSpPr>
          <p:spPr>
            <a:xfrm>
              <a:off x="238125" y="2189800"/>
              <a:ext cx="646975" cy="646950"/>
            </a:xfrm>
            <a:custGeom>
              <a:avLst/>
              <a:gdLst/>
              <a:ahLst/>
              <a:cxnLst/>
              <a:rect l="l" t="t" r="r" b="b"/>
              <a:pathLst>
                <a:path w="25879" h="25878" extrusionOk="0">
                  <a:moveTo>
                    <a:pt x="24220" y="1"/>
                  </a:moveTo>
                  <a:lnTo>
                    <a:pt x="0" y="24221"/>
                  </a:lnTo>
                  <a:cubicBezTo>
                    <a:pt x="46" y="24774"/>
                    <a:pt x="111" y="25327"/>
                    <a:pt x="197" y="25877"/>
                  </a:cubicBezTo>
                  <a:lnTo>
                    <a:pt x="25878" y="197"/>
                  </a:lnTo>
                  <a:cubicBezTo>
                    <a:pt x="25328" y="111"/>
                    <a:pt x="24775" y="45"/>
                    <a:pt x="24220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7" name="Google Shape;1237;p26"/>
            <p:cNvSpPr/>
            <p:nvPr/>
          </p:nvSpPr>
          <p:spPr>
            <a:xfrm>
              <a:off x="260500" y="2212175"/>
              <a:ext cx="735575" cy="735575"/>
            </a:xfrm>
            <a:custGeom>
              <a:avLst/>
              <a:gdLst/>
              <a:ahLst/>
              <a:cxnLst/>
              <a:rect l="l" t="t" r="r" b="b"/>
              <a:pathLst>
                <a:path w="29423" h="29423" extrusionOk="0">
                  <a:moveTo>
                    <a:pt x="28037" y="0"/>
                  </a:moveTo>
                  <a:lnTo>
                    <a:pt x="1" y="28036"/>
                  </a:lnTo>
                  <a:cubicBezTo>
                    <a:pt x="143" y="28502"/>
                    <a:pt x="298" y="28964"/>
                    <a:pt x="470" y="29423"/>
                  </a:cubicBezTo>
                  <a:lnTo>
                    <a:pt x="29422" y="471"/>
                  </a:lnTo>
                  <a:cubicBezTo>
                    <a:pt x="28965" y="299"/>
                    <a:pt x="28503" y="142"/>
                    <a:pt x="28037" y="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8" name="Google Shape;1238;p26"/>
            <p:cNvSpPr/>
            <p:nvPr/>
          </p:nvSpPr>
          <p:spPr>
            <a:xfrm>
              <a:off x="301425" y="2253075"/>
              <a:ext cx="788775" cy="788825"/>
            </a:xfrm>
            <a:custGeom>
              <a:avLst/>
              <a:gdLst/>
              <a:ahLst/>
              <a:cxnLst/>
              <a:rect l="l" t="t" r="r" b="b"/>
              <a:pathLst>
                <a:path w="31551" h="31553" extrusionOk="0">
                  <a:moveTo>
                    <a:pt x="30370" y="1"/>
                  </a:moveTo>
                  <a:lnTo>
                    <a:pt x="0" y="30371"/>
                  </a:lnTo>
                  <a:cubicBezTo>
                    <a:pt x="211" y="30770"/>
                    <a:pt x="436" y="31164"/>
                    <a:pt x="675" y="31552"/>
                  </a:cubicBezTo>
                  <a:lnTo>
                    <a:pt x="31551" y="675"/>
                  </a:lnTo>
                  <a:cubicBezTo>
                    <a:pt x="31163" y="437"/>
                    <a:pt x="30770" y="213"/>
                    <a:pt x="30370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39" name="Google Shape;1239;p26"/>
            <p:cNvSpPr/>
            <p:nvPr/>
          </p:nvSpPr>
          <p:spPr>
            <a:xfrm>
              <a:off x="356800" y="2308450"/>
              <a:ext cx="813925" cy="813925"/>
            </a:xfrm>
            <a:custGeom>
              <a:avLst/>
              <a:gdLst/>
              <a:ahLst/>
              <a:cxnLst/>
              <a:rect l="l" t="t" r="r" b="b"/>
              <a:pathLst>
                <a:path w="32557" h="32557" extrusionOk="0">
                  <a:moveTo>
                    <a:pt x="31547" y="1"/>
                  </a:moveTo>
                  <a:lnTo>
                    <a:pt x="0" y="31549"/>
                  </a:lnTo>
                  <a:cubicBezTo>
                    <a:pt x="270" y="31890"/>
                    <a:pt x="552" y="32227"/>
                    <a:pt x="846" y="32556"/>
                  </a:cubicBezTo>
                  <a:lnTo>
                    <a:pt x="32556" y="848"/>
                  </a:lnTo>
                  <a:cubicBezTo>
                    <a:pt x="32226" y="554"/>
                    <a:pt x="31890" y="272"/>
                    <a:pt x="31547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0" name="Google Shape;1240;p26"/>
            <p:cNvSpPr/>
            <p:nvPr/>
          </p:nvSpPr>
          <p:spPr>
            <a:xfrm>
              <a:off x="424825" y="2376525"/>
              <a:ext cx="813925" cy="813925"/>
            </a:xfrm>
            <a:custGeom>
              <a:avLst/>
              <a:gdLst/>
              <a:ahLst/>
              <a:cxnLst/>
              <a:rect l="l" t="t" r="r" b="b"/>
              <a:pathLst>
                <a:path w="32557" h="32557" extrusionOk="0">
                  <a:moveTo>
                    <a:pt x="31711" y="1"/>
                  </a:moveTo>
                  <a:lnTo>
                    <a:pt x="1" y="31709"/>
                  </a:lnTo>
                  <a:cubicBezTo>
                    <a:pt x="331" y="32003"/>
                    <a:pt x="667" y="32286"/>
                    <a:pt x="1010" y="32556"/>
                  </a:cubicBezTo>
                  <a:lnTo>
                    <a:pt x="32557" y="1010"/>
                  </a:lnTo>
                  <a:cubicBezTo>
                    <a:pt x="32287" y="667"/>
                    <a:pt x="32005" y="330"/>
                    <a:pt x="31711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1" name="Google Shape;1241;p26"/>
            <p:cNvSpPr/>
            <p:nvPr/>
          </p:nvSpPr>
          <p:spPr>
            <a:xfrm>
              <a:off x="505350" y="2457000"/>
              <a:ext cx="788775" cy="788875"/>
            </a:xfrm>
            <a:custGeom>
              <a:avLst/>
              <a:gdLst/>
              <a:ahLst/>
              <a:cxnLst/>
              <a:rect l="l" t="t" r="r" b="b"/>
              <a:pathLst>
                <a:path w="31551" h="31555" extrusionOk="0">
                  <a:moveTo>
                    <a:pt x="30878" y="1"/>
                  </a:moveTo>
                  <a:lnTo>
                    <a:pt x="0" y="30879"/>
                  </a:lnTo>
                  <a:cubicBezTo>
                    <a:pt x="388" y="31116"/>
                    <a:pt x="782" y="31340"/>
                    <a:pt x="1181" y="31554"/>
                  </a:cubicBezTo>
                  <a:lnTo>
                    <a:pt x="31551" y="1182"/>
                  </a:lnTo>
                  <a:cubicBezTo>
                    <a:pt x="31340" y="783"/>
                    <a:pt x="31116" y="389"/>
                    <a:pt x="30878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2" name="Google Shape;1242;p26"/>
            <p:cNvSpPr/>
            <p:nvPr/>
          </p:nvSpPr>
          <p:spPr>
            <a:xfrm>
              <a:off x="599500" y="2551175"/>
              <a:ext cx="735550" cy="735550"/>
            </a:xfrm>
            <a:custGeom>
              <a:avLst/>
              <a:gdLst/>
              <a:ahLst/>
              <a:cxnLst/>
              <a:rect l="l" t="t" r="r" b="b"/>
              <a:pathLst>
                <a:path w="29422" h="29422" extrusionOk="0">
                  <a:moveTo>
                    <a:pt x="28952" y="1"/>
                  </a:moveTo>
                  <a:lnTo>
                    <a:pt x="0" y="28953"/>
                  </a:lnTo>
                  <a:cubicBezTo>
                    <a:pt x="457" y="29125"/>
                    <a:pt x="919" y="29282"/>
                    <a:pt x="1385" y="29422"/>
                  </a:cubicBezTo>
                  <a:lnTo>
                    <a:pt x="29421" y="1386"/>
                  </a:lnTo>
                  <a:cubicBezTo>
                    <a:pt x="29281" y="920"/>
                    <a:pt x="29124" y="458"/>
                    <a:pt x="28952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3" name="Google Shape;1243;p26"/>
            <p:cNvSpPr/>
            <p:nvPr/>
          </p:nvSpPr>
          <p:spPr>
            <a:xfrm>
              <a:off x="710450" y="2662150"/>
              <a:ext cx="647000" cy="646975"/>
            </a:xfrm>
            <a:custGeom>
              <a:avLst/>
              <a:gdLst/>
              <a:ahLst/>
              <a:cxnLst/>
              <a:rect l="l" t="t" r="r" b="b"/>
              <a:pathLst>
                <a:path w="25880" h="25879" extrusionOk="0">
                  <a:moveTo>
                    <a:pt x="25682" y="1"/>
                  </a:moveTo>
                  <a:lnTo>
                    <a:pt x="1" y="25681"/>
                  </a:lnTo>
                  <a:cubicBezTo>
                    <a:pt x="552" y="25767"/>
                    <a:pt x="1104" y="25833"/>
                    <a:pt x="1659" y="25879"/>
                  </a:cubicBezTo>
                  <a:lnTo>
                    <a:pt x="25879" y="1659"/>
                  </a:lnTo>
                  <a:cubicBezTo>
                    <a:pt x="25834" y="1104"/>
                    <a:pt x="25768" y="551"/>
                    <a:pt x="25682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4" name="Google Shape;1244;p26"/>
            <p:cNvSpPr/>
            <p:nvPr/>
          </p:nvSpPr>
          <p:spPr>
            <a:xfrm>
              <a:off x="845925" y="2797575"/>
              <a:ext cx="511350" cy="511350"/>
            </a:xfrm>
            <a:custGeom>
              <a:avLst/>
              <a:gdLst/>
              <a:ahLst/>
              <a:cxnLst/>
              <a:rect l="l" t="t" r="r" b="b"/>
              <a:pathLst>
                <a:path w="20454" h="20454" extrusionOk="0">
                  <a:moveTo>
                    <a:pt x="20453" y="1"/>
                  </a:moveTo>
                  <a:lnTo>
                    <a:pt x="1" y="20453"/>
                  </a:lnTo>
                  <a:cubicBezTo>
                    <a:pt x="718" y="20391"/>
                    <a:pt x="1431" y="20297"/>
                    <a:pt x="2142" y="20167"/>
                  </a:cubicBezTo>
                  <a:lnTo>
                    <a:pt x="20165" y="2142"/>
                  </a:lnTo>
                  <a:cubicBezTo>
                    <a:pt x="20295" y="1433"/>
                    <a:pt x="20391" y="720"/>
                    <a:pt x="20453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1245" name="Google Shape;1245;p26"/>
            <p:cNvSpPr/>
            <p:nvPr/>
          </p:nvSpPr>
          <p:spPr>
            <a:xfrm>
              <a:off x="1037700" y="2989400"/>
              <a:ext cx="267950" cy="267900"/>
            </a:xfrm>
            <a:custGeom>
              <a:avLst/>
              <a:gdLst/>
              <a:ahLst/>
              <a:cxnLst/>
              <a:rect l="l" t="t" r="r" b="b"/>
              <a:pathLst>
                <a:path w="10718" h="10716" extrusionOk="0">
                  <a:moveTo>
                    <a:pt x="10717" y="1"/>
                  </a:moveTo>
                  <a:lnTo>
                    <a:pt x="1" y="10715"/>
                  </a:lnTo>
                  <a:cubicBezTo>
                    <a:pt x="4703" y="8488"/>
                    <a:pt x="8489" y="4703"/>
                    <a:pt x="10717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1246" name="Google Shape;1246;p26"/>
          <p:cNvSpPr txBox="1">
            <a:spLocks noGrp="1"/>
          </p:cNvSpPr>
          <p:nvPr>
            <p:ph type="title"/>
          </p:nvPr>
        </p:nvSpPr>
        <p:spPr>
          <a:xfrm>
            <a:off x="720000" y="445025"/>
            <a:ext cx="77043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408187088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">
  <p:cSld name="Background">
    <p:spTree>
      <p:nvGrpSpPr>
        <p:cNvPr id="1" name="Shape 1356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49051303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+ Design">
  <p:cSld name="Title + Design">
    <p:spTree>
      <p:nvGrpSpPr>
        <p:cNvPr id="1" name="Shape 15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" name="Google Shape;156;p8"/>
          <p:cNvSpPr txBox="1">
            <a:spLocks noGrp="1"/>
          </p:cNvSpPr>
          <p:nvPr>
            <p:ph type="ctrTitle"/>
          </p:nvPr>
        </p:nvSpPr>
        <p:spPr>
          <a:xfrm>
            <a:off x="2869200" y="119475"/>
            <a:ext cx="3405600" cy="9462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182191835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39B946AA-16B3-476B-A66B-6F0A68EE6AE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133026298"/>
              </p:ext>
            </p:extLst>
          </p:nvPr>
        </p:nvGraphicFramePr>
        <p:xfrm>
          <a:off x="1191" y="1191"/>
          <a:ext cx="1191" cy="1191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3" imgH="384" progId="TCLayout.ActiveDocument.1">
                  <p:embed/>
                </p:oleObj>
              </mc:Choice>
              <mc:Fallback>
                <p:oleObj name="think-cell Slide" r:id="rId4" imgW="383" imgH="384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39B946AA-16B3-476B-A66B-6F0A68EE6AE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191" y="1191"/>
                        <a:ext cx="1191" cy="1191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tangle 6" hidden="1">
            <a:extLst>
              <a:ext uri="{FF2B5EF4-FFF2-40B4-BE49-F238E27FC236}">
                <a16:creationId xmlns:a16="http://schemas.microsoft.com/office/drawing/2014/main" id="{46180C3F-4E3B-4DAA-96A5-62CFDB4E8EC9}"/>
              </a:ext>
            </a:extLst>
          </p:cNvPr>
          <p:cNvSpPr/>
          <p:nvPr userDrawn="1">
            <p:custDataLst>
              <p:tags r:id="rId2"/>
            </p:custDataLst>
          </p:nvPr>
        </p:nvSpPr>
        <p:spPr>
          <a:xfrm>
            <a:off x="0" y="0"/>
            <a:ext cx="119063" cy="119063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en-US" sz="3300" b="1" i="0" baseline="0" dirty="0">
              <a:latin typeface="Georgia" panose="02040502050405020303" pitchFamily="18" charset="0"/>
              <a:ea typeface="+mj-ea"/>
              <a:cs typeface="+mj-cs"/>
              <a:sym typeface="Georgia" panose="02040502050405020303" pitchFamily="18" charset="0"/>
            </a:endParaRP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70ACA736-E1C9-4018-811B-3DDBD0E6001A}"/>
              </a:ext>
            </a:extLst>
          </p:cNvPr>
          <p:cNvSpPr/>
          <p:nvPr userDrawn="1"/>
        </p:nvSpPr>
        <p:spPr>
          <a:xfrm>
            <a:off x="0" y="4829176"/>
            <a:ext cx="9144000" cy="314324"/>
          </a:xfrm>
          <a:prstGeom prst="rect">
            <a:avLst/>
          </a:prstGeom>
          <a:solidFill>
            <a:schemeClr val="tx2">
              <a:lumMod val="5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05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06C18613-6CDA-4744-A762-DD4127F831C4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21481" y="273844"/>
            <a:ext cx="8301038" cy="697706"/>
          </a:xfrm>
        </p:spPr>
        <p:txBody>
          <a:bodyPr/>
          <a:lstStyle>
            <a:lvl1pPr>
              <a:defRPr b="1">
                <a:latin typeface="Georgia" panose="02040502050405020303" pitchFamily="18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D367D262-235F-4113-9CE8-277C1283E37F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421481" y="1185863"/>
            <a:ext cx="8301038" cy="3429000"/>
          </a:xfrm>
        </p:spPr>
        <p:txBody>
          <a:bodyPr/>
          <a:lstStyle>
            <a:lvl1pPr>
              <a:defRPr>
                <a:latin typeface="Georgia" panose="02040502050405020303" pitchFamily="18" charset="0"/>
              </a:defRPr>
            </a:lvl1pPr>
            <a:lvl2pPr>
              <a:defRPr>
                <a:latin typeface="Georgia" panose="02040502050405020303" pitchFamily="18" charset="0"/>
              </a:defRPr>
            </a:lvl2pPr>
            <a:lvl3pPr>
              <a:defRPr>
                <a:latin typeface="Georgia" panose="02040502050405020303" pitchFamily="18" charset="0"/>
              </a:defRPr>
            </a:lvl3pPr>
            <a:lvl4pPr>
              <a:defRPr>
                <a:latin typeface="Georgia" panose="02040502050405020303" pitchFamily="18" charset="0"/>
              </a:defRPr>
            </a:lvl4pPr>
            <a:lvl5pPr>
              <a:defRPr>
                <a:latin typeface="Georgia" panose="02040502050405020303" pitchFamily="18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2DE08EE9-7275-49C4-8B7D-A8320D82F042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21481" y="4888977"/>
            <a:ext cx="3086100" cy="184006"/>
          </a:xfrm>
        </p:spPr>
        <p:txBody>
          <a:bodyPr/>
          <a:lstStyle>
            <a:lvl1pPr algn="l">
              <a:defRPr>
                <a:solidFill>
                  <a:schemeClr val="bg1"/>
                </a:solidFill>
              </a:defRPr>
            </a:lvl1pPr>
          </a:lstStyle>
          <a:p>
            <a:endParaRPr lang="en-US" dirty="0">
              <a:solidFill>
                <a:schemeClr val="bg1"/>
              </a:solidFill>
            </a:endParaRPr>
          </a:p>
        </p:txBody>
      </p:sp>
      <p:sp>
        <p:nvSpPr>
          <p:cNvPr id="6" name="Slide Number Placeholder 5">
            <a:extLst>
              <a:ext uri="{FF2B5EF4-FFF2-40B4-BE49-F238E27FC236}">
                <a16:creationId xmlns:a16="http://schemas.microsoft.com/office/drawing/2014/main" id="{9684BD88-7977-4F84-A7E9-13B9C0C8CAF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6665119" y="4888977"/>
            <a:ext cx="2057400" cy="184006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fld id="{402967E6-FAF8-4EBB-9382-28C6BA5B84EC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233196490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Agenda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54175275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Basic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0" y="123478"/>
            <a:ext cx="9144000" cy="576064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3600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j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BASIC LAYOUT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1" hasCustomPrompt="1"/>
          </p:nvPr>
        </p:nvSpPr>
        <p:spPr>
          <a:xfrm>
            <a:off x="0" y="699542"/>
            <a:ext cx="9144000" cy="288032"/>
          </a:xfrm>
          <a:prstGeom prst="rect">
            <a:avLst/>
          </a:prstGeom>
        </p:spPr>
        <p:txBody>
          <a:bodyPr anchor="ctr"/>
          <a:lstStyle>
            <a:lvl1pPr marL="0" indent="0" algn="ctr">
              <a:buNone/>
              <a:defRPr sz="1400" b="0" baseline="0">
                <a:solidFill>
                  <a:schemeClr val="tx1">
                    <a:lumMod val="75000"/>
                    <a:lumOff val="25000"/>
                  </a:schemeClr>
                </a:solidFill>
                <a:latin typeface="+mn-lt"/>
                <a:cs typeface="Arial" pitchFamily="34" charset="0"/>
              </a:defRPr>
            </a:lvl1pPr>
          </a:lstStyle>
          <a:p>
            <a:pPr lvl="0"/>
            <a:r>
              <a:rPr lang="en-US" altLang="ko-KR" dirty="0"/>
              <a:t>Insert the title of your subtitle Here</a:t>
            </a:r>
          </a:p>
        </p:txBody>
      </p:sp>
    </p:spTree>
    <p:extLst>
      <p:ext uri="{BB962C8B-B14F-4D97-AF65-F5344CB8AC3E}">
        <p14:creationId xmlns:p14="http://schemas.microsoft.com/office/powerpoint/2010/main" val="330900788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design 2">
  <p:cSld name="TITLE_ONLY_1_1_1_1">
    <p:bg>
      <p:bgPr>
        <a:solidFill>
          <a:schemeClr val="dk2"/>
        </a:solidFill>
        <a:effectLst/>
      </p:bgPr>
    </p:bg>
    <p:spTree>
      <p:nvGrpSpPr>
        <p:cNvPr id="1" name="Shape 12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0" name="Google Shape;130;p21"/>
          <p:cNvSpPr txBox="1">
            <a:spLocks noGrp="1"/>
          </p:cNvSpPr>
          <p:nvPr>
            <p:ph type="title"/>
          </p:nvPr>
        </p:nvSpPr>
        <p:spPr>
          <a:xfrm>
            <a:off x="2092450" y="445025"/>
            <a:ext cx="63318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1800"/>
              <a:buNone/>
              <a:defRPr sz="1800" b="0">
                <a:latin typeface="Source Sans Pro SemiBold"/>
                <a:ea typeface="Source Sans Pro SemiBold"/>
                <a:cs typeface="Source Sans Pro SemiBold"/>
                <a:sym typeface="Source Sans Pro SemiBold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Background">
  <p:cSld name="BLANK_1_1_1_1_1">
    <p:bg>
      <p:bgPr>
        <a:solidFill>
          <a:schemeClr val="dk2"/>
        </a:solidFill>
        <a:effectLst/>
      </p:bgPr>
    </p:bg>
    <p:spTree>
      <p:nvGrpSpPr>
        <p:cNvPr id="1" name="Shape 176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genda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8162292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End slide layout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0945DE9-E3D5-4878-87F8-0F789D212B69}"/>
              </a:ext>
            </a:extLst>
          </p:cNvPr>
          <p:cNvSpPr/>
          <p:nvPr userDrawn="1"/>
        </p:nvSpPr>
        <p:spPr>
          <a:xfrm>
            <a:off x="1" y="1926557"/>
            <a:ext cx="9143999" cy="1290387"/>
          </a:xfrm>
          <a:prstGeom prst="rect">
            <a:avLst/>
          </a:prstGeom>
          <a:gradFill flip="none" rotWithShape="1">
            <a:gsLst>
              <a:gs pos="65000">
                <a:schemeClr val="bg1">
                  <a:alpha val="75000"/>
                </a:schemeClr>
              </a:gs>
              <a:gs pos="39000">
                <a:schemeClr val="bg1">
                  <a:alpha val="75000"/>
                </a:schemeClr>
              </a:gs>
              <a:gs pos="8000">
                <a:schemeClr val="accent1">
                  <a:alpha val="0"/>
                </a:schemeClr>
              </a:gs>
              <a:gs pos="96000">
                <a:schemeClr val="accent5">
                  <a:alpha val="0"/>
                </a:schemeClr>
              </a:gs>
            </a:gsLst>
            <a:lin ang="0" scaled="1"/>
            <a:tileRect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/>
          </a:p>
        </p:txBody>
      </p:sp>
    </p:spTree>
    <p:extLst>
      <p:ext uri="{BB962C8B-B14F-4D97-AF65-F5344CB8AC3E}">
        <p14:creationId xmlns:p14="http://schemas.microsoft.com/office/powerpoint/2010/main" val="1552118300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able of contents">
  <p:cSld name="Table of contents">
    <p:spTree>
      <p:nvGrpSpPr>
        <p:cNvPr id="1" name="Shape 41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14" name="Google Shape;414;p13"/>
          <p:cNvSpPr/>
          <p:nvPr/>
        </p:nvSpPr>
        <p:spPr>
          <a:xfrm flipH="1">
            <a:off x="7105556" y="3658775"/>
            <a:ext cx="2770200" cy="2770200"/>
          </a:xfrm>
          <a:prstGeom prst="ellipse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415" name="Google Shape;415;p13"/>
          <p:cNvSpPr/>
          <p:nvPr/>
        </p:nvSpPr>
        <p:spPr>
          <a:xfrm flipH="1">
            <a:off x="-1193876" y="-857275"/>
            <a:ext cx="2570400" cy="2570400"/>
          </a:xfrm>
          <a:prstGeom prst="ellipse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416" name="Google Shape;416;p13"/>
          <p:cNvGrpSpPr/>
          <p:nvPr/>
        </p:nvGrpSpPr>
        <p:grpSpPr>
          <a:xfrm rot="-5400000" flipH="1">
            <a:off x="8319073" y="3069215"/>
            <a:ext cx="1124362" cy="1124362"/>
            <a:chOff x="238125" y="2189800"/>
            <a:chExt cx="1119325" cy="1119325"/>
          </a:xfrm>
        </p:grpSpPr>
        <p:sp>
          <p:nvSpPr>
            <p:cNvPr id="417" name="Google Shape;417;p13"/>
            <p:cNvSpPr/>
            <p:nvPr/>
          </p:nvSpPr>
          <p:spPr>
            <a:xfrm>
              <a:off x="289900" y="2241600"/>
              <a:ext cx="267950" cy="267950"/>
            </a:xfrm>
            <a:custGeom>
              <a:avLst/>
              <a:gdLst/>
              <a:ahLst/>
              <a:cxnLst/>
              <a:rect l="l" t="t" r="r" b="b"/>
              <a:pathLst>
                <a:path w="10718" h="10718" extrusionOk="0">
                  <a:moveTo>
                    <a:pt x="10717" y="1"/>
                  </a:moveTo>
                  <a:lnTo>
                    <a:pt x="10717" y="1"/>
                  </a:lnTo>
                  <a:cubicBezTo>
                    <a:pt x="8382" y="1104"/>
                    <a:pt x="6257" y="2604"/>
                    <a:pt x="4431" y="4431"/>
                  </a:cubicBezTo>
                  <a:cubicBezTo>
                    <a:pt x="2604" y="6255"/>
                    <a:pt x="1106" y="8382"/>
                    <a:pt x="1" y="10717"/>
                  </a:cubicBezTo>
                  <a:lnTo>
                    <a:pt x="10717" y="1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8" name="Google Shape;418;p13"/>
            <p:cNvSpPr/>
            <p:nvPr/>
          </p:nvSpPr>
          <p:spPr>
            <a:xfrm>
              <a:off x="238275" y="2189975"/>
              <a:ext cx="511350" cy="511375"/>
            </a:xfrm>
            <a:custGeom>
              <a:avLst/>
              <a:gdLst/>
              <a:ahLst/>
              <a:cxnLst/>
              <a:rect l="l" t="t" r="r" b="b"/>
              <a:pathLst>
                <a:path w="20454" h="20455" extrusionOk="0">
                  <a:moveTo>
                    <a:pt x="20453" y="1"/>
                  </a:moveTo>
                  <a:lnTo>
                    <a:pt x="20453" y="1"/>
                  </a:lnTo>
                  <a:cubicBezTo>
                    <a:pt x="19736" y="63"/>
                    <a:pt x="19023" y="158"/>
                    <a:pt x="18312" y="287"/>
                  </a:cubicBezTo>
                  <a:lnTo>
                    <a:pt x="289" y="18312"/>
                  </a:lnTo>
                  <a:cubicBezTo>
                    <a:pt x="159" y="19023"/>
                    <a:pt x="63" y="19736"/>
                    <a:pt x="1" y="20455"/>
                  </a:cubicBezTo>
                  <a:lnTo>
                    <a:pt x="20453" y="1"/>
                  </a:ln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19" name="Google Shape;419;p13"/>
            <p:cNvSpPr/>
            <p:nvPr/>
          </p:nvSpPr>
          <p:spPr>
            <a:xfrm>
              <a:off x="238125" y="2189800"/>
              <a:ext cx="646975" cy="646950"/>
            </a:xfrm>
            <a:custGeom>
              <a:avLst/>
              <a:gdLst/>
              <a:ahLst/>
              <a:cxnLst/>
              <a:rect l="l" t="t" r="r" b="b"/>
              <a:pathLst>
                <a:path w="25879" h="25878" extrusionOk="0">
                  <a:moveTo>
                    <a:pt x="24220" y="1"/>
                  </a:moveTo>
                  <a:lnTo>
                    <a:pt x="0" y="24221"/>
                  </a:lnTo>
                  <a:cubicBezTo>
                    <a:pt x="46" y="24774"/>
                    <a:pt x="111" y="25327"/>
                    <a:pt x="197" y="25877"/>
                  </a:cubicBezTo>
                  <a:lnTo>
                    <a:pt x="25878" y="197"/>
                  </a:lnTo>
                  <a:cubicBezTo>
                    <a:pt x="25328" y="111"/>
                    <a:pt x="24775" y="45"/>
                    <a:pt x="24220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0" name="Google Shape;420;p13"/>
            <p:cNvSpPr/>
            <p:nvPr/>
          </p:nvSpPr>
          <p:spPr>
            <a:xfrm>
              <a:off x="260500" y="2212175"/>
              <a:ext cx="735575" cy="735575"/>
            </a:xfrm>
            <a:custGeom>
              <a:avLst/>
              <a:gdLst/>
              <a:ahLst/>
              <a:cxnLst/>
              <a:rect l="l" t="t" r="r" b="b"/>
              <a:pathLst>
                <a:path w="29423" h="29423" extrusionOk="0">
                  <a:moveTo>
                    <a:pt x="28037" y="0"/>
                  </a:moveTo>
                  <a:lnTo>
                    <a:pt x="1" y="28036"/>
                  </a:lnTo>
                  <a:cubicBezTo>
                    <a:pt x="143" y="28502"/>
                    <a:pt x="298" y="28964"/>
                    <a:pt x="470" y="29423"/>
                  </a:cubicBezTo>
                  <a:lnTo>
                    <a:pt x="29422" y="471"/>
                  </a:lnTo>
                  <a:cubicBezTo>
                    <a:pt x="28965" y="299"/>
                    <a:pt x="28503" y="142"/>
                    <a:pt x="28037" y="0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1" name="Google Shape;421;p13"/>
            <p:cNvSpPr/>
            <p:nvPr/>
          </p:nvSpPr>
          <p:spPr>
            <a:xfrm>
              <a:off x="301425" y="2253075"/>
              <a:ext cx="788775" cy="788825"/>
            </a:xfrm>
            <a:custGeom>
              <a:avLst/>
              <a:gdLst/>
              <a:ahLst/>
              <a:cxnLst/>
              <a:rect l="l" t="t" r="r" b="b"/>
              <a:pathLst>
                <a:path w="31551" h="31553" extrusionOk="0">
                  <a:moveTo>
                    <a:pt x="30370" y="1"/>
                  </a:moveTo>
                  <a:lnTo>
                    <a:pt x="0" y="30371"/>
                  </a:lnTo>
                  <a:cubicBezTo>
                    <a:pt x="211" y="30770"/>
                    <a:pt x="436" y="31164"/>
                    <a:pt x="675" y="31552"/>
                  </a:cubicBezTo>
                  <a:lnTo>
                    <a:pt x="31551" y="675"/>
                  </a:lnTo>
                  <a:cubicBezTo>
                    <a:pt x="31163" y="437"/>
                    <a:pt x="30770" y="213"/>
                    <a:pt x="30370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2" name="Google Shape;422;p13"/>
            <p:cNvSpPr/>
            <p:nvPr/>
          </p:nvSpPr>
          <p:spPr>
            <a:xfrm>
              <a:off x="356800" y="2308450"/>
              <a:ext cx="813925" cy="813925"/>
            </a:xfrm>
            <a:custGeom>
              <a:avLst/>
              <a:gdLst/>
              <a:ahLst/>
              <a:cxnLst/>
              <a:rect l="l" t="t" r="r" b="b"/>
              <a:pathLst>
                <a:path w="32557" h="32557" extrusionOk="0">
                  <a:moveTo>
                    <a:pt x="31547" y="1"/>
                  </a:moveTo>
                  <a:lnTo>
                    <a:pt x="0" y="31549"/>
                  </a:lnTo>
                  <a:cubicBezTo>
                    <a:pt x="270" y="31890"/>
                    <a:pt x="552" y="32227"/>
                    <a:pt x="846" y="32556"/>
                  </a:cubicBezTo>
                  <a:lnTo>
                    <a:pt x="32556" y="848"/>
                  </a:lnTo>
                  <a:cubicBezTo>
                    <a:pt x="32226" y="554"/>
                    <a:pt x="31890" y="272"/>
                    <a:pt x="31547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3" name="Google Shape;423;p13"/>
            <p:cNvSpPr/>
            <p:nvPr/>
          </p:nvSpPr>
          <p:spPr>
            <a:xfrm>
              <a:off x="424825" y="2376525"/>
              <a:ext cx="813925" cy="813925"/>
            </a:xfrm>
            <a:custGeom>
              <a:avLst/>
              <a:gdLst/>
              <a:ahLst/>
              <a:cxnLst/>
              <a:rect l="l" t="t" r="r" b="b"/>
              <a:pathLst>
                <a:path w="32557" h="32557" extrusionOk="0">
                  <a:moveTo>
                    <a:pt x="31711" y="1"/>
                  </a:moveTo>
                  <a:lnTo>
                    <a:pt x="1" y="31709"/>
                  </a:lnTo>
                  <a:cubicBezTo>
                    <a:pt x="331" y="32003"/>
                    <a:pt x="667" y="32286"/>
                    <a:pt x="1010" y="32556"/>
                  </a:cubicBezTo>
                  <a:lnTo>
                    <a:pt x="32557" y="1010"/>
                  </a:lnTo>
                  <a:cubicBezTo>
                    <a:pt x="32287" y="667"/>
                    <a:pt x="32005" y="330"/>
                    <a:pt x="31711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4" name="Google Shape;424;p13"/>
            <p:cNvSpPr/>
            <p:nvPr/>
          </p:nvSpPr>
          <p:spPr>
            <a:xfrm>
              <a:off x="505350" y="2457000"/>
              <a:ext cx="788775" cy="788875"/>
            </a:xfrm>
            <a:custGeom>
              <a:avLst/>
              <a:gdLst/>
              <a:ahLst/>
              <a:cxnLst/>
              <a:rect l="l" t="t" r="r" b="b"/>
              <a:pathLst>
                <a:path w="31551" h="31555" extrusionOk="0">
                  <a:moveTo>
                    <a:pt x="30878" y="1"/>
                  </a:moveTo>
                  <a:lnTo>
                    <a:pt x="0" y="30879"/>
                  </a:lnTo>
                  <a:cubicBezTo>
                    <a:pt x="388" y="31116"/>
                    <a:pt x="782" y="31340"/>
                    <a:pt x="1181" y="31554"/>
                  </a:cubicBezTo>
                  <a:lnTo>
                    <a:pt x="31551" y="1182"/>
                  </a:lnTo>
                  <a:cubicBezTo>
                    <a:pt x="31340" y="783"/>
                    <a:pt x="31116" y="389"/>
                    <a:pt x="30878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5" name="Google Shape;425;p13"/>
            <p:cNvSpPr/>
            <p:nvPr/>
          </p:nvSpPr>
          <p:spPr>
            <a:xfrm>
              <a:off x="599500" y="2551175"/>
              <a:ext cx="735550" cy="735550"/>
            </a:xfrm>
            <a:custGeom>
              <a:avLst/>
              <a:gdLst/>
              <a:ahLst/>
              <a:cxnLst/>
              <a:rect l="l" t="t" r="r" b="b"/>
              <a:pathLst>
                <a:path w="29422" h="29422" extrusionOk="0">
                  <a:moveTo>
                    <a:pt x="28952" y="1"/>
                  </a:moveTo>
                  <a:lnTo>
                    <a:pt x="0" y="28953"/>
                  </a:lnTo>
                  <a:cubicBezTo>
                    <a:pt x="457" y="29125"/>
                    <a:pt x="919" y="29282"/>
                    <a:pt x="1385" y="29422"/>
                  </a:cubicBezTo>
                  <a:lnTo>
                    <a:pt x="29421" y="1386"/>
                  </a:lnTo>
                  <a:cubicBezTo>
                    <a:pt x="29281" y="920"/>
                    <a:pt x="29124" y="458"/>
                    <a:pt x="28952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6" name="Google Shape;426;p13"/>
            <p:cNvSpPr/>
            <p:nvPr/>
          </p:nvSpPr>
          <p:spPr>
            <a:xfrm>
              <a:off x="710450" y="2662150"/>
              <a:ext cx="647000" cy="646975"/>
            </a:xfrm>
            <a:custGeom>
              <a:avLst/>
              <a:gdLst/>
              <a:ahLst/>
              <a:cxnLst/>
              <a:rect l="l" t="t" r="r" b="b"/>
              <a:pathLst>
                <a:path w="25880" h="25879" extrusionOk="0">
                  <a:moveTo>
                    <a:pt x="25682" y="1"/>
                  </a:moveTo>
                  <a:lnTo>
                    <a:pt x="1" y="25681"/>
                  </a:lnTo>
                  <a:cubicBezTo>
                    <a:pt x="552" y="25767"/>
                    <a:pt x="1104" y="25833"/>
                    <a:pt x="1659" y="25879"/>
                  </a:cubicBezTo>
                  <a:lnTo>
                    <a:pt x="25879" y="1659"/>
                  </a:lnTo>
                  <a:cubicBezTo>
                    <a:pt x="25834" y="1104"/>
                    <a:pt x="25768" y="551"/>
                    <a:pt x="25682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7" name="Google Shape;427;p13"/>
            <p:cNvSpPr/>
            <p:nvPr/>
          </p:nvSpPr>
          <p:spPr>
            <a:xfrm>
              <a:off x="845925" y="2797575"/>
              <a:ext cx="511350" cy="511350"/>
            </a:xfrm>
            <a:custGeom>
              <a:avLst/>
              <a:gdLst/>
              <a:ahLst/>
              <a:cxnLst/>
              <a:rect l="l" t="t" r="r" b="b"/>
              <a:pathLst>
                <a:path w="20454" h="20454" extrusionOk="0">
                  <a:moveTo>
                    <a:pt x="20453" y="1"/>
                  </a:moveTo>
                  <a:lnTo>
                    <a:pt x="1" y="20453"/>
                  </a:lnTo>
                  <a:cubicBezTo>
                    <a:pt x="718" y="20391"/>
                    <a:pt x="1431" y="20297"/>
                    <a:pt x="2142" y="20167"/>
                  </a:cubicBezTo>
                  <a:lnTo>
                    <a:pt x="20165" y="2142"/>
                  </a:lnTo>
                  <a:cubicBezTo>
                    <a:pt x="20295" y="1433"/>
                    <a:pt x="20391" y="720"/>
                    <a:pt x="20453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28" name="Google Shape;428;p13"/>
            <p:cNvSpPr/>
            <p:nvPr/>
          </p:nvSpPr>
          <p:spPr>
            <a:xfrm>
              <a:off x="1037700" y="2989400"/>
              <a:ext cx="267950" cy="267900"/>
            </a:xfrm>
            <a:custGeom>
              <a:avLst/>
              <a:gdLst/>
              <a:ahLst/>
              <a:cxnLst/>
              <a:rect l="l" t="t" r="r" b="b"/>
              <a:pathLst>
                <a:path w="10718" h="10716" extrusionOk="0">
                  <a:moveTo>
                    <a:pt x="10717" y="1"/>
                  </a:moveTo>
                  <a:lnTo>
                    <a:pt x="1" y="10715"/>
                  </a:lnTo>
                  <a:cubicBezTo>
                    <a:pt x="4703" y="8488"/>
                    <a:pt x="8489" y="4703"/>
                    <a:pt x="10717" y="1"/>
                  </a:cubicBezTo>
                  <a:close/>
                </a:path>
              </a:pathLst>
            </a:custGeom>
            <a:solidFill>
              <a:schemeClr val="accent2"/>
            </a:solidFill>
            <a:ln w="9525" cap="flat" cmpd="sng">
              <a:solidFill>
                <a:schemeClr val="accen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29" name="Google Shape;429;p13"/>
          <p:cNvGrpSpPr/>
          <p:nvPr/>
        </p:nvGrpSpPr>
        <p:grpSpPr>
          <a:xfrm flipH="1">
            <a:off x="8618707" y="651369"/>
            <a:ext cx="1153246" cy="1061755"/>
            <a:chOff x="984400" y="3436950"/>
            <a:chExt cx="2214375" cy="2038700"/>
          </a:xfrm>
        </p:grpSpPr>
        <p:sp>
          <p:nvSpPr>
            <p:cNvPr id="430" name="Google Shape;430;p13"/>
            <p:cNvSpPr/>
            <p:nvPr/>
          </p:nvSpPr>
          <p:spPr>
            <a:xfrm>
              <a:off x="984400" y="3436950"/>
              <a:ext cx="1602525" cy="1166400"/>
            </a:xfrm>
            <a:custGeom>
              <a:avLst/>
              <a:gdLst/>
              <a:ahLst/>
              <a:cxnLst/>
              <a:rect l="l" t="t" r="r" b="b"/>
              <a:pathLst>
                <a:path w="64101" h="46656" extrusionOk="0">
                  <a:moveTo>
                    <a:pt x="61659" y="0"/>
                  </a:moveTo>
                  <a:lnTo>
                    <a:pt x="0" y="43166"/>
                  </a:lnTo>
                  <a:lnTo>
                    <a:pt x="2442" y="46655"/>
                  </a:lnTo>
                  <a:lnTo>
                    <a:pt x="64101" y="3489"/>
                  </a:lnTo>
                  <a:lnTo>
                    <a:pt x="61659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1" name="Google Shape;431;p13"/>
            <p:cNvSpPr/>
            <p:nvPr/>
          </p:nvSpPr>
          <p:spPr>
            <a:xfrm>
              <a:off x="1106500" y="3611400"/>
              <a:ext cx="1602550" cy="1166400"/>
            </a:xfrm>
            <a:custGeom>
              <a:avLst/>
              <a:gdLst/>
              <a:ahLst/>
              <a:cxnLst/>
              <a:rect l="l" t="t" r="r" b="b"/>
              <a:pathLst>
                <a:path w="64102" h="46656" extrusionOk="0">
                  <a:moveTo>
                    <a:pt x="61659" y="0"/>
                  </a:moveTo>
                  <a:lnTo>
                    <a:pt x="1" y="43167"/>
                  </a:lnTo>
                  <a:lnTo>
                    <a:pt x="2443" y="46656"/>
                  </a:lnTo>
                  <a:lnTo>
                    <a:pt x="64102" y="3490"/>
                  </a:lnTo>
                  <a:lnTo>
                    <a:pt x="61659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2" name="Google Shape;432;p13"/>
            <p:cNvSpPr/>
            <p:nvPr/>
          </p:nvSpPr>
          <p:spPr>
            <a:xfrm>
              <a:off x="1228625" y="3785850"/>
              <a:ext cx="1603800" cy="1166425"/>
            </a:xfrm>
            <a:custGeom>
              <a:avLst/>
              <a:gdLst/>
              <a:ahLst/>
              <a:cxnLst/>
              <a:rect l="l" t="t" r="r" b="b"/>
              <a:pathLst>
                <a:path w="64152" h="46657" extrusionOk="0">
                  <a:moveTo>
                    <a:pt x="61709" y="1"/>
                  </a:moveTo>
                  <a:lnTo>
                    <a:pt x="1" y="43167"/>
                  </a:lnTo>
                  <a:lnTo>
                    <a:pt x="2443" y="46656"/>
                  </a:lnTo>
                  <a:lnTo>
                    <a:pt x="64151" y="3490"/>
                  </a:lnTo>
                  <a:lnTo>
                    <a:pt x="61709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3" name="Google Shape;433;p13"/>
            <p:cNvSpPr/>
            <p:nvPr/>
          </p:nvSpPr>
          <p:spPr>
            <a:xfrm>
              <a:off x="1350750" y="3960325"/>
              <a:ext cx="1603800" cy="1166400"/>
            </a:xfrm>
            <a:custGeom>
              <a:avLst/>
              <a:gdLst/>
              <a:ahLst/>
              <a:cxnLst/>
              <a:rect l="l" t="t" r="r" b="b"/>
              <a:pathLst>
                <a:path w="64152" h="46656" extrusionOk="0">
                  <a:moveTo>
                    <a:pt x="61709" y="0"/>
                  </a:moveTo>
                  <a:lnTo>
                    <a:pt x="0" y="43166"/>
                  </a:lnTo>
                  <a:lnTo>
                    <a:pt x="2443" y="46655"/>
                  </a:lnTo>
                  <a:lnTo>
                    <a:pt x="64151" y="3489"/>
                  </a:lnTo>
                  <a:lnTo>
                    <a:pt x="61709" y="0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4" name="Google Shape;434;p13"/>
            <p:cNvSpPr/>
            <p:nvPr/>
          </p:nvSpPr>
          <p:spPr>
            <a:xfrm>
              <a:off x="1472875" y="4134775"/>
              <a:ext cx="1603800" cy="1166400"/>
            </a:xfrm>
            <a:custGeom>
              <a:avLst/>
              <a:gdLst/>
              <a:ahLst/>
              <a:cxnLst/>
              <a:rect l="l" t="t" r="r" b="b"/>
              <a:pathLst>
                <a:path w="64152" h="46656" extrusionOk="0">
                  <a:moveTo>
                    <a:pt x="61709" y="1"/>
                  </a:moveTo>
                  <a:lnTo>
                    <a:pt x="0" y="43167"/>
                  </a:lnTo>
                  <a:lnTo>
                    <a:pt x="2443" y="46656"/>
                  </a:lnTo>
                  <a:lnTo>
                    <a:pt x="64151" y="3490"/>
                  </a:lnTo>
                  <a:lnTo>
                    <a:pt x="61709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5" name="Google Shape;435;p13"/>
            <p:cNvSpPr/>
            <p:nvPr/>
          </p:nvSpPr>
          <p:spPr>
            <a:xfrm>
              <a:off x="1595000" y="4310475"/>
              <a:ext cx="1603775" cy="1165175"/>
            </a:xfrm>
            <a:custGeom>
              <a:avLst/>
              <a:gdLst/>
              <a:ahLst/>
              <a:cxnLst/>
              <a:rect l="l" t="t" r="r" b="b"/>
              <a:pathLst>
                <a:path w="64151" h="46607" extrusionOk="0">
                  <a:moveTo>
                    <a:pt x="61709" y="1"/>
                  </a:moveTo>
                  <a:lnTo>
                    <a:pt x="0" y="43117"/>
                  </a:lnTo>
                  <a:lnTo>
                    <a:pt x="2443" y="46606"/>
                  </a:lnTo>
                  <a:lnTo>
                    <a:pt x="64151" y="3490"/>
                  </a:lnTo>
                  <a:lnTo>
                    <a:pt x="61709" y="1"/>
                  </a:ln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36" name="Google Shape;436;p13"/>
          <p:cNvGrpSpPr/>
          <p:nvPr/>
        </p:nvGrpSpPr>
        <p:grpSpPr>
          <a:xfrm rot="-5400000" flipH="1">
            <a:off x="-571186" y="1376523"/>
            <a:ext cx="1106789" cy="1106789"/>
            <a:chOff x="238125" y="2189800"/>
            <a:chExt cx="1119325" cy="1119325"/>
          </a:xfrm>
        </p:grpSpPr>
        <p:sp>
          <p:nvSpPr>
            <p:cNvPr id="437" name="Google Shape;437;p13"/>
            <p:cNvSpPr/>
            <p:nvPr/>
          </p:nvSpPr>
          <p:spPr>
            <a:xfrm>
              <a:off x="289900" y="2241600"/>
              <a:ext cx="267950" cy="267950"/>
            </a:xfrm>
            <a:custGeom>
              <a:avLst/>
              <a:gdLst/>
              <a:ahLst/>
              <a:cxnLst/>
              <a:rect l="l" t="t" r="r" b="b"/>
              <a:pathLst>
                <a:path w="10718" h="10718" extrusionOk="0">
                  <a:moveTo>
                    <a:pt x="10717" y="1"/>
                  </a:moveTo>
                  <a:lnTo>
                    <a:pt x="10717" y="1"/>
                  </a:lnTo>
                  <a:cubicBezTo>
                    <a:pt x="8382" y="1104"/>
                    <a:pt x="6257" y="2604"/>
                    <a:pt x="4431" y="4431"/>
                  </a:cubicBezTo>
                  <a:cubicBezTo>
                    <a:pt x="2604" y="6255"/>
                    <a:pt x="1106" y="8382"/>
                    <a:pt x="1" y="10717"/>
                  </a:cubicBezTo>
                  <a:lnTo>
                    <a:pt x="10717" y="1"/>
                  </a:ln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8" name="Google Shape;438;p13"/>
            <p:cNvSpPr/>
            <p:nvPr/>
          </p:nvSpPr>
          <p:spPr>
            <a:xfrm>
              <a:off x="238275" y="2189975"/>
              <a:ext cx="511350" cy="511375"/>
            </a:xfrm>
            <a:custGeom>
              <a:avLst/>
              <a:gdLst/>
              <a:ahLst/>
              <a:cxnLst/>
              <a:rect l="l" t="t" r="r" b="b"/>
              <a:pathLst>
                <a:path w="20454" h="20455" extrusionOk="0">
                  <a:moveTo>
                    <a:pt x="20453" y="1"/>
                  </a:moveTo>
                  <a:lnTo>
                    <a:pt x="20453" y="1"/>
                  </a:lnTo>
                  <a:cubicBezTo>
                    <a:pt x="19736" y="63"/>
                    <a:pt x="19023" y="158"/>
                    <a:pt x="18312" y="287"/>
                  </a:cubicBezTo>
                  <a:lnTo>
                    <a:pt x="289" y="18312"/>
                  </a:lnTo>
                  <a:cubicBezTo>
                    <a:pt x="159" y="19023"/>
                    <a:pt x="63" y="19736"/>
                    <a:pt x="1" y="20455"/>
                  </a:cubicBezTo>
                  <a:lnTo>
                    <a:pt x="20453" y="1"/>
                  </a:ln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39" name="Google Shape;439;p13"/>
            <p:cNvSpPr/>
            <p:nvPr/>
          </p:nvSpPr>
          <p:spPr>
            <a:xfrm>
              <a:off x="238125" y="2189800"/>
              <a:ext cx="646975" cy="646950"/>
            </a:xfrm>
            <a:custGeom>
              <a:avLst/>
              <a:gdLst/>
              <a:ahLst/>
              <a:cxnLst/>
              <a:rect l="l" t="t" r="r" b="b"/>
              <a:pathLst>
                <a:path w="25879" h="25878" extrusionOk="0">
                  <a:moveTo>
                    <a:pt x="24220" y="1"/>
                  </a:moveTo>
                  <a:lnTo>
                    <a:pt x="0" y="24221"/>
                  </a:lnTo>
                  <a:cubicBezTo>
                    <a:pt x="46" y="24774"/>
                    <a:pt x="111" y="25327"/>
                    <a:pt x="197" y="25877"/>
                  </a:cubicBezTo>
                  <a:lnTo>
                    <a:pt x="25878" y="197"/>
                  </a:lnTo>
                  <a:cubicBezTo>
                    <a:pt x="25328" y="111"/>
                    <a:pt x="24775" y="45"/>
                    <a:pt x="24220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0" name="Google Shape;440;p13"/>
            <p:cNvSpPr/>
            <p:nvPr/>
          </p:nvSpPr>
          <p:spPr>
            <a:xfrm>
              <a:off x="260500" y="2212175"/>
              <a:ext cx="735575" cy="735575"/>
            </a:xfrm>
            <a:custGeom>
              <a:avLst/>
              <a:gdLst/>
              <a:ahLst/>
              <a:cxnLst/>
              <a:rect l="l" t="t" r="r" b="b"/>
              <a:pathLst>
                <a:path w="29423" h="29423" extrusionOk="0">
                  <a:moveTo>
                    <a:pt x="28037" y="0"/>
                  </a:moveTo>
                  <a:lnTo>
                    <a:pt x="1" y="28036"/>
                  </a:lnTo>
                  <a:cubicBezTo>
                    <a:pt x="143" y="28502"/>
                    <a:pt x="298" y="28964"/>
                    <a:pt x="470" y="29423"/>
                  </a:cubicBezTo>
                  <a:lnTo>
                    <a:pt x="29422" y="471"/>
                  </a:lnTo>
                  <a:cubicBezTo>
                    <a:pt x="28965" y="299"/>
                    <a:pt x="28503" y="142"/>
                    <a:pt x="28037" y="0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1" name="Google Shape;441;p13"/>
            <p:cNvSpPr/>
            <p:nvPr/>
          </p:nvSpPr>
          <p:spPr>
            <a:xfrm>
              <a:off x="301425" y="2253075"/>
              <a:ext cx="788775" cy="788825"/>
            </a:xfrm>
            <a:custGeom>
              <a:avLst/>
              <a:gdLst/>
              <a:ahLst/>
              <a:cxnLst/>
              <a:rect l="l" t="t" r="r" b="b"/>
              <a:pathLst>
                <a:path w="31551" h="31553" extrusionOk="0">
                  <a:moveTo>
                    <a:pt x="30370" y="1"/>
                  </a:moveTo>
                  <a:lnTo>
                    <a:pt x="0" y="30371"/>
                  </a:lnTo>
                  <a:cubicBezTo>
                    <a:pt x="211" y="30770"/>
                    <a:pt x="436" y="31164"/>
                    <a:pt x="675" y="31552"/>
                  </a:cubicBezTo>
                  <a:lnTo>
                    <a:pt x="31551" y="675"/>
                  </a:lnTo>
                  <a:cubicBezTo>
                    <a:pt x="31163" y="437"/>
                    <a:pt x="30770" y="213"/>
                    <a:pt x="30370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2" name="Google Shape;442;p13"/>
            <p:cNvSpPr/>
            <p:nvPr/>
          </p:nvSpPr>
          <p:spPr>
            <a:xfrm>
              <a:off x="356800" y="2308450"/>
              <a:ext cx="813925" cy="813925"/>
            </a:xfrm>
            <a:custGeom>
              <a:avLst/>
              <a:gdLst/>
              <a:ahLst/>
              <a:cxnLst/>
              <a:rect l="l" t="t" r="r" b="b"/>
              <a:pathLst>
                <a:path w="32557" h="32557" extrusionOk="0">
                  <a:moveTo>
                    <a:pt x="31547" y="1"/>
                  </a:moveTo>
                  <a:lnTo>
                    <a:pt x="0" y="31549"/>
                  </a:lnTo>
                  <a:cubicBezTo>
                    <a:pt x="270" y="31890"/>
                    <a:pt x="552" y="32227"/>
                    <a:pt x="846" y="32556"/>
                  </a:cubicBezTo>
                  <a:lnTo>
                    <a:pt x="32556" y="848"/>
                  </a:lnTo>
                  <a:cubicBezTo>
                    <a:pt x="32226" y="554"/>
                    <a:pt x="31890" y="272"/>
                    <a:pt x="31547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3" name="Google Shape;443;p13"/>
            <p:cNvSpPr/>
            <p:nvPr/>
          </p:nvSpPr>
          <p:spPr>
            <a:xfrm>
              <a:off x="424825" y="2376525"/>
              <a:ext cx="813925" cy="813925"/>
            </a:xfrm>
            <a:custGeom>
              <a:avLst/>
              <a:gdLst/>
              <a:ahLst/>
              <a:cxnLst/>
              <a:rect l="l" t="t" r="r" b="b"/>
              <a:pathLst>
                <a:path w="32557" h="32557" extrusionOk="0">
                  <a:moveTo>
                    <a:pt x="31711" y="1"/>
                  </a:moveTo>
                  <a:lnTo>
                    <a:pt x="1" y="31709"/>
                  </a:lnTo>
                  <a:cubicBezTo>
                    <a:pt x="331" y="32003"/>
                    <a:pt x="667" y="32286"/>
                    <a:pt x="1010" y="32556"/>
                  </a:cubicBezTo>
                  <a:lnTo>
                    <a:pt x="32557" y="1010"/>
                  </a:lnTo>
                  <a:cubicBezTo>
                    <a:pt x="32287" y="667"/>
                    <a:pt x="32005" y="330"/>
                    <a:pt x="31711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4" name="Google Shape;444;p13"/>
            <p:cNvSpPr/>
            <p:nvPr/>
          </p:nvSpPr>
          <p:spPr>
            <a:xfrm>
              <a:off x="505350" y="2457000"/>
              <a:ext cx="788775" cy="788875"/>
            </a:xfrm>
            <a:custGeom>
              <a:avLst/>
              <a:gdLst/>
              <a:ahLst/>
              <a:cxnLst/>
              <a:rect l="l" t="t" r="r" b="b"/>
              <a:pathLst>
                <a:path w="31551" h="31555" extrusionOk="0">
                  <a:moveTo>
                    <a:pt x="30878" y="1"/>
                  </a:moveTo>
                  <a:lnTo>
                    <a:pt x="0" y="30879"/>
                  </a:lnTo>
                  <a:cubicBezTo>
                    <a:pt x="388" y="31116"/>
                    <a:pt x="782" y="31340"/>
                    <a:pt x="1181" y="31554"/>
                  </a:cubicBezTo>
                  <a:lnTo>
                    <a:pt x="31551" y="1182"/>
                  </a:lnTo>
                  <a:cubicBezTo>
                    <a:pt x="31340" y="783"/>
                    <a:pt x="31116" y="389"/>
                    <a:pt x="30878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5" name="Google Shape;445;p13"/>
            <p:cNvSpPr/>
            <p:nvPr/>
          </p:nvSpPr>
          <p:spPr>
            <a:xfrm>
              <a:off x="599500" y="2551175"/>
              <a:ext cx="735550" cy="735550"/>
            </a:xfrm>
            <a:custGeom>
              <a:avLst/>
              <a:gdLst/>
              <a:ahLst/>
              <a:cxnLst/>
              <a:rect l="l" t="t" r="r" b="b"/>
              <a:pathLst>
                <a:path w="29422" h="29422" extrusionOk="0">
                  <a:moveTo>
                    <a:pt x="28952" y="1"/>
                  </a:moveTo>
                  <a:lnTo>
                    <a:pt x="0" y="28953"/>
                  </a:lnTo>
                  <a:cubicBezTo>
                    <a:pt x="457" y="29125"/>
                    <a:pt x="919" y="29282"/>
                    <a:pt x="1385" y="29422"/>
                  </a:cubicBezTo>
                  <a:lnTo>
                    <a:pt x="29421" y="1386"/>
                  </a:lnTo>
                  <a:cubicBezTo>
                    <a:pt x="29281" y="920"/>
                    <a:pt x="29124" y="458"/>
                    <a:pt x="28952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6" name="Google Shape;446;p13"/>
            <p:cNvSpPr/>
            <p:nvPr/>
          </p:nvSpPr>
          <p:spPr>
            <a:xfrm>
              <a:off x="710450" y="2662150"/>
              <a:ext cx="647000" cy="646975"/>
            </a:xfrm>
            <a:custGeom>
              <a:avLst/>
              <a:gdLst/>
              <a:ahLst/>
              <a:cxnLst/>
              <a:rect l="l" t="t" r="r" b="b"/>
              <a:pathLst>
                <a:path w="25880" h="25879" extrusionOk="0">
                  <a:moveTo>
                    <a:pt x="25682" y="1"/>
                  </a:moveTo>
                  <a:lnTo>
                    <a:pt x="1" y="25681"/>
                  </a:lnTo>
                  <a:cubicBezTo>
                    <a:pt x="552" y="25767"/>
                    <a:pt x="1104" y="25833"/>
                    <a:pt x="1659" y="25879"/>
                  </a:cubicBezTo>
                  <a:lnTo>
                    <a:pt x="25879" y="1659"/>
                  </a:lnTo>
                  <a:cubicBezTo>
                    <a:pt x="25834" y="1104"/>
                    <a:pt x="25768" y="551"/>
                    <a:pt x="25682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7" name="Google Shape;447;p13"/>
            <p:cNvSpPr/>
            <p:nvPr/>
          </p:nvSpPr>
          <p:spPr>
            <a:xfrm>
              <a:off x="845925" y="2797575"/>
              <a:ext cx="511350" cy="511350"/>
            </a:xfrm>
            <a:custGeom>
              <a:avLst/>
              <a:gdLst/>
              <a:ahLst/>
              <a:cxnLst/>
              <a:rect l="l" t="t" r="r" b="b"/>
              <a:pathLst>
                <a:path w="20454" h="20454" extrusionOk="0">
                  <a:moveTo>
                    <a:pt x="20453" y="1"/>
                  </a:moveTo>
                  <a:lnTo>
                    <a:pt x="1" y="20453"/>
                  </a:lnTo>
                  <a:cubicBezTo>
                    <a:pt x="718" y="20391"/>
                    <a:pt x="1431" y="20297"/>
                    <a:pt x="2142" y="20167"/>
                  </a:cubicBezTo>
                  <a:lnTo>
                    <a:pt x="20165" y="2142"/>
                  </a:lnTo>
                  <a:cubicBezTo>
                    <a:pt x="20295" y="1433"/>
                    <a:pt x="20391" y="720"/>
                    <a:pt x="20453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48" name="Google Shape;448;p13"/>
            <p:cNvSpPr/>
            <p:nvPr/>
          </p:nvSpPr>
          <p:spPr>
            <a:xfrm>
              <a:off x="1037700" y="2989400"/>
              <a:ext cx="267950" cy="267900"/>
            </a:xfrm>
            <a:custGeom>
              <a:avLst/>
              <a:gdLst/>
              <a:ahLst/>
              <a:cxnLst/>
              <a:rect l="l" t="t" r="r" b="b"/>
              <a:pathLst>
                <a:path w="10718" h="10716" extrusionOk="0">
                  <a:moveTo>
                    <a:pt x="10717" y="1"/>
                  </a:moveTo>
                  <a:lnTo>
                    <a:pt x="1" y="10715"/>
                  </a:lnTo>
                  <a:cubicBezTo>
                    <a:pt x="4703" y="8488"/>
                    <a:pt x="8489" y="4703"/>
                    <a:pt x="10717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49" name="Google Shape;449;p13"/>
          <p:cNvGrpSpPr/>
          <p:nvPr/>
        </p:nvGrpSpPr>
        <p:grpSpPr>
          <a:xfrm flipH="1">
            <a:off x="1130514" y="3921391"/>
            <a:ext cx="368918" cy="368135"/>
            <a:chOff x="3510300" y="2634425"/>
            <a:chExt cx="576975" cy="575750"/>
          </a:xfrm>
        </p:grpSpPr>
        <p:sp>
          <p:nvSpPr>
            <p:cNvPr id="450" name="Google Shape;450;p13"/>
            <p:cNvSpPr/>
            <p:nvPr/>
          </p:nvSpPr>
          <p:spPr>
            <a:xfrm>
              <a:off x="3743325" y="2634425"/>
              <a:ext cx="110925" cy="575750"/>
            </a:xfrm>
            <a:custGeom>
              <a:avLst/>
              <a:gdLst/>
              <a:ahLst/>
              <a:cxnLst/>
              <a:rect l="l" t="t" r="r" b="b"/>
              <a:pathLst>
                <a:path w="4437" h="23030" extrusionOk="0">
                  <a:moveTo>
                    <a:pt x="2193" y="1"/>
                  </a:moveTo>
                  <a:cubicBezTo>
                    <a:pt x="997" y="1"/>
                    <a:pt x="0" y="998"/>
                    <a:pt x="0" y="2194"/>
                  </a:cubicBezTo>
                  <a:lnTo>
                    <a:pt x="0" y="20786"/>
                  </a:lnTo>
                  <a:cubicBezTo>
                    <a:pt x="0" y="22032"/>
                    <a:pt x="997" y="23029"/>
                    <a:pt x="2193" y="23029"/>
                  </a:cubicBezTo>
                  <a:cubicBezTo>
                    <a:pt x="3440" y="23029"/>
                    <a:pt x="4437" y="22032"/>
                    <a:pt x="4437" y="20786"/>
                  </a:cubicBezTo>
                  <a:lnTo>
                    <a:pt x="4437" y="2194"/>
                  </a:lnTo>
                  <a:cubicBezTo>
                    <a:pt x="4437" y="998"/>
                    <a:pt x="3440" y="1"/>
                    <a:pt x="2193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1" name="Google Shape;451;p13"/>
            <p:cNvSpPr/>
            <p:nvPr/>
          </p:nvSpPr>
          <p:spPr>
            <a:xfrm>
              <a:off x="3510300" y="2866200"/>
              <a:ext cx="576975" cy="112175"/>
            </a:xfrm>
            <a:custGeom>
              <a:avLst/>
              <a:gdLst/>
              <a:ahLst/>
              <a:cxnLst/>
              <a:rect l="l" t="t" r="r" b="b"/>
              <a:pathLst>
                <a:path w="23079" h="4487" extrusionOk="0">
                  <a:moveTo>
                    <a:pt x="2243" y="1"/>
                  </a:moveTo>
                  <a:cubicBezTo>
                    <a:pt x="997" y="1"/>
                    <a:pt x="0" y="998"/>
                    <a:pt x="0" y="2244"/>
                  </a:cubicBezTo>
                  <a:cubicBezTo>
                    <a:pt x="0" y="3440"/>
                    <a:pt x="997" y="4437"/>
                    <a:pt x="2243" y="4487"/>
                  </a:cubicBezTo>
                  <a:lnTo>
                    <a:pt x="20836" y="4487"/>
                  </a:lnTo>
                  <a:cubicBezTo>
                    <a:pt x="22082" y="4437"/>
                    <a:pt x="23079" y="3440"/>
                    <a:pt x="23079" y="2244"/>
                  </a:cubicBezTo>
                  <a:cubicBezTo>
                    <a:pt x="23029" y="998"/>
                    <a:pt x="22032" y="1"/>
                    <a:pt x="20836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452" name="Google Shape;452;p13"/>
          <p:cNvGrpSpPr/>
          <p:nvPr/>
        </p:nvGrpSpPr>
        <p:grpSpPr>
          <a:xfrm flipH="1">
            <a:off x="720156" y="4194940"/>
            <a:ext cx="254677" cy="254136"/>
            <a:chOff x="3510300" y="2634425"/>
            <a:chExt cx="576975" cy="575750"/>
          </a:xfrm>
        </p:grpSpPr>
        <p:sp>
          <p:nvSpPr>
            <p:cNvPr id="453" name="Google Shape;453;p13"/>
            <p:cNvSpPr/>
            <p:nvPr/>
          </p:nvSpPr>
          <p:spPr>
            <a:xfrm>
              <a:off x="3743325" y="2634425"/>
              <a:ext cx="110925" cy="575750"/>
            </a:xfrm>
            <a:custGeom>
              <a:avLst/>
              <a:gdLst/>
              <a:ahLst/>
              <a:cxnLst/>
              <a:rect l="l" t="t" r="r" b="b"/>
              <a:pathLst>
                <a:path w="4437" h="23030" extrusionOk="0">
                  <a:moveTo>
                    <a:pt x="2193" y="1"/>
                  </a:moveTo>
                  <a:cubicBezTo>
                    <a:pt x="997" y="1"/>
                    <a:pt x="0" y="998"/>
                    <a:pt x="0" y="2194"/>
                  </a:cubicBezTo>
                  <a:lnTo>
                    <a:pt x="0" y="20786"/>
                  </a:lnTo>
                  <a:cubicBezTo>
                    <a:pt x="0" y="22032"/>
                    <a:pt x="997" y="23029"/>
                    <a:pt x="2193" y="23029"/>
                  </a:cubicBezTo>
                  <a:cubicBezTo>
                    <a:pt x="3440" y="23029"/>
                    <a:pt x="4437" y="22032"/>
                    <a:pt x="4437" y="20786"/>
                  </a:cubicBezTo>
                  <a:lnTo>
                    <a:pt x="4437" y="2194"/>
                  </a:lnTo>
                  <a:cubicBezTo>
                    <a:pt x="4437" y="998"/>
                    <a:pt x="3440" y="1"/>
                    <a:pt x="2193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454" name="Google Shape;454;p13"/>
            <p:cNvSpPr/>
            <p:nvPr/>
          </p:nvSpPr>
          <p:spPr>
            <a:xfrm>
              <a:off x="3510300" y="2866200"/>
              <a:ext cx="576975" cy="112175"/>
            </a:xfrm>
            <a:custGeom>
              <a:avLst/>
              <a:gdLst/>
              <a:ahLst/>
              <a:cxnLst/>
              <a:rect l="l" t="t" r="r" b="b"/>
              <a:pathLst>
                <a:path w="23079" h="4487" extrusionOk="0">
                  <a:moveTo>
                    <a:pt x="2243" y="1"/>
                  </a:moveTo>
                  <a:cubicBezTo>
                    <a:pt x="997" y="1"/>
                    <a:pt x="0" y="998"/>
                    <a:pt x="0" y="2244"/>
                  </a:cubicBezTo>
                  <a:cubicBezTo>
                    <a:pt x="0" y="3440"/>
                    <a:pt x="997" y="4437"/>
                    <a:pt x="2243" y="4487"/>
                  </a:cubicBezTo>
                  <a:lnTo>
                    <a:pt x="20836" y="4487"/>
                  </a:lnTo>
                  <a:cubicBezTo>
                    <a:pt x="22082" y="4437"/>
                    <a:pt x="23079" y="3440"/>
                    <a:pt x="23079" y="2244"/>
                  </a:cubicBezTo>
                  <a:cubicBezTo>
                    <a:pt x="23029" y="998"/>
                    <a:pt x="22032" y="1"/>
                    <a:pt x="20836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sp>
        <p:nvSpPr>
          <p:cNvPr id="455" name="Google Shape;455;p13"/>
          <p:cNvSpPr txBox="1">
            <a:spLocks noGrp="1"/>
          </p:cNvSpPr>
          <p:nvPr>
            <p:ph type="title"/>
          </p:nvPr>
        </p:nvSpPr>
        <p:spPr>
          <a:xfrm>
            <a:off x="669725" y="1664250"/>
            <a:ext cx="24171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800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456" name="Google Shape;456;p13"/>
          <p:cNvSpPr txBox="1">
            <a:spLocks noGrp="1"/>
          </p:cNvSpPr>
          <p:nvPr>
            <p:ph type="title" idx="2" hasCustomPrompt="1"/>
          </p:nvPr>
        </p:nvSpPr>
        <p:spPr>
          <a:xfrm>
            <a:off x="666750" y="1299675"/>
            <a:ext cx="2417100" cy="593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9pPr>
          </a:lstStyle>
          <a:p>
            <a:r>
              <a:t>xx%</a:t>
            </a:r>
          </a:p>
        </p:txBody>
      </p:sp>
      <p:sp>
        <p:nvSpPr>
          <p:cNvPr id="457" name="Google Shape;457;p13"/>
          <p:cNvSpPr txBox="1">
            <a:spLocks noGrp="1"/>
          </p:cNvSpPr>
          <p:nvPr>
            <p:ph type="subTitle" idx="1"/>
          </p:nvPr>
        </p:nvSpPr>
        <p:spPr>
          <a:xfrm>
            <a:off x="670500" y="2024500"/>
            <a:ext cx="2417100" cy="748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SzPts val="1600"/>
              <a:buNone/>
              <a:defRPr/>
            </a:lvl9pPr>
          </a:lstStyle>
          <a:p>
            <a:endParaRPr/>
          </a:p>
        </p:txBody>
      </p:sp>
      <p:sp>
        <p:nvSpPr>
          <p:cNvPr id="458" name="Google Shape;458;p13"/>
          <p:cNvSpPr txBox="1">
            <a:spLocks noGrp="1"/>
          </p:cNvSpPr>
          <p:nvPr>
            <p:ph type="title" idx="3"/>
          </p:nvPr>
        </p:nvSpPr>
        <p:spPr>
          <a:xfrm>
            <a:off x="3352275" y="1663750"/>
            <a:ext cx="24171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800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459" name="Google Shape;459;p13"/>
          <p:cNvSpPr txBox="1">
            <a:spLocks noGrp="1"/>
          </p:cNvSpPr>
          <p:nvPr>
            <p:ph type="title" idx="4" hasCustomPrompt="1"/>
          </p:nvPr>
        </p:nvSpPr>
        <p:spPr>
          <a:xfrm>
            <a:off x="3352200" y="1299175"/>
            <a:ext cx="2417100" cy="593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>
                <a:solidFill>
                  <a:schemeClr val="accent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9pPr>
          </a:lstStyle>
          <a:p>
            <a:r>
              <a:t>xx%</a:t>
            </a:r>
          </a:p>
        </p:txBody>
      </p:sp>
      <p:sp>
        <p:nvSpPr>
          <p:cNvPr id="460" name="Google Shape;460;p13"/>
          <p:cNvSpPr txBox="1">
            <a:spLocks noGrp="1"/>
          </p:cNvSpPr>
          <p:nvPr>
            <p:ph type="subTitle" idx="5"/>
          </p:nvPr>
        </p:nvSpPr>
        <p:spPr>
          <a:xfrm>
            <a:off x="3365250" y="2024000"/>
            <a:ext cx="2417100" cy="748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2pPr>
            <a:lvl3pPr lvl="2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3pPr>
            <a:lvl4pPr lvl="3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4pPr>
            <a:lvl5pPr lvl="4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5pPr>
            <a:lvl6pPr lvl="5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6pPr>
            <a:lvl7pPr lvl="6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7pPr>
            <a:lvl8pPr lvl="7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8pPr>
            <a:lvl9pPr lvl="8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SzPts val="1600"/>
              <a:buNone/>
              <a:defRPr/>
            </a:lvl9pPr>
          </a:lstStyle>
          <a:p>
            <a:endParaRPr/>
          </a:p>
        </p:txBody>
      </p:sp>
      <p:sp>
        <p:nvSpPr>
          <p:cNvPr id="461" name="Google Shape;461;p13"/>
          <p:cNvSpPr txBox="1">
            <a:spLocks noGrp="1"/>
          </p:cNvSpPr>
          <p:nvPr>
            <p:ph type="title" idx="6"/>
          </p:nvPr>
        </p:nvSpPr>
        <p:spPr>
          <a:xfrm>
            <a:off x="6032800" y="1664250"/>
            <a:ext cx="24171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800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462" name="Google Shape;462;p13"/>
          <p:cNvSpPr txBox="1">
            <a:spLocks noGrp="1"/>
          </p:cNvSpPr>
          <p:nvPr>
            <p:ph type="title" idx="7" hasCustomPrompt="1"/>
          </p:nvPr>
        </p:nvSpPr>
        <p:spPr>
          <a:xfrm>
            <a:off x="6033900" y="1299675"/>
            <a:ext cx="2417100" cy="593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>
                <a:solidFill>
                  <a:schemeClr val="lt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9pPr>
          </a:lstStyle>
          <a:p>
            <a:r>
              <a:t>xx%</a:t>
            </a:r>
          </a:p>
        </p:txBody>
      </p:sp>
      <p:sp>
        <p:nvSpPr>
          <p:cNvPr id="463" name="Google Shape;463;p13"/>
          <p:cNvSpPr txBox="1">
            <a:spLocks noGrp="1"/>
          </p:cNvSpPr>
          <p:nvPr>
            <p:ph type="subTitle" idx="8"/>
          </p:nvPr>
        </p:nvSpPr>
        <p:spPr>
          <a:xfrm>
            <a:off x="6033900" y="2024500"/>
            <a:ext cx="2417100" cy="748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2pPr>
            <a:lvl3pPr lvl="2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3pPr>
            <a:lvl4pPr lvl="3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4pPr>
            <a:lvl5pPr lvl="4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5pPr>
            <a:lvl6pPr lvl="5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6pPr>
            <a:lvl7pPr lvl="6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7pPr>
            <a:lvl8pPr lvl="7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8pPr>
            <a:lvl9pPr lvl="8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SzPts val="1600"/>
              <a:buNone/>
              <a:defRPr/>
            </a:lvl9pPr>
          </a:lstStyle>
          <a:p>
            <a:endParaRPr/>
          </a:p>
        </p:txBody>
      </p:sp>
      <p:sp>
        <p:nvSpPr>
          <p:cNvPr id="464" name="Google Shape;464;p13"/>
          <p:cNvSpPr txBox="1">
            <a:spLocks noGrp="1"/>
          </p:cNvSpPr>
          <p:nvPr>
            <p:ph type="title" idx="9"/>
          </p:nvPr>
        </p:nvSpPr>
        <p:spPr>
          <a:xfrm>
            <a:off x="2015550" y="3530450"/>
            <a:ext cx="24171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800"/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465" name="Google Shape;465;p13"/>
          <p:cNvSpPr txBox="1">
            <a:spLocks noGrp="1"/>
          </p:cNvSpPr>
          <p:nvPr>
            <p:ph type="title" idx="13" hasCustomPrompt="1"/>
          </p:nvPr>
        </p:nvSpPr>
        <p:spPr>
          <a:xfrm>
            <a:off x="2011950" y="3165875"/>
            <a:ext cx="2417100" cy="593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9pPr>
          </a:lstStyle>
          <a:p>
            <a:r>
              <a:t>xx%</a:t>
            </a:r>
          </a:p>
        </p:txBody>
      </p:sp>
      <p:sp>
        <p:nvSpPr>
          <p:cNvPr id="466" name="Google Shape;466;p13"/>
          <p:cNvSpPr txBox="1">
            <a:spLocks noGrp="1"/>
          </p:cNvSpPr>
          <p:nvPr>
            <p:ph type="subTitle" idx="14"/>
          </p:nvPr>
        </p:nvSpPr>
        <p:spPr>
          <a:xfrm>
            <a:off x="2012400" y="3890700"/>
            <a:ext cx="2417100" cy="748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SzPts val="1600"/>
              <a:buNone/>
              <a:defRPr/>
            </a:lvl9pPr>
          </a:lstStyle>
          <a:p>
            <a:endParaRPr/>
          </a:p>
        </p:txBody>
      </p:sp>
      <p:sp>
        <p:nvSpPr>
          <p:cNvPr id="467" name="Google Shape;467;p13"/>
          <p:cNvSpPr txBox="1">
            <a:spLocks noGrp="1"/>
          </p:cNvSpPr>
          <p:nvPr>
            <p:ph type="title" idx="15"/>
          </p:nvPr>
        </p:nvSpPr>
        <p:spPr>
          <a:xfrm>
            <a:off x="4706975" y="3530450"/>
            <a:ext cx="24171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1600"/>
              <a:buNone/>
              <a:defRPr sz="1800"/>
            </a:lvl1pPr>
            <a:lvl2pPr lvl="1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468" name="Google Shape;468;p13"/>
          <p:cNvSpPr txBox="1">
            <a:spLocks noGrp="1"/>
          </p:cNvSpPr>
          <p:nvPr>
            <p:ph type="title" idx="16" hasCustomPrompt="1"/>
          </p:nvPr>
        </p:nvSpPr>
        <p:spPr>
          <a:xfrm>
            <a:off x="4706975" y="3165875"/>
            <a:ext cx="2417100" cy="593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3000"/>
              <a:buNone/>
              <a:defRPr sz="4000">
                <a:solidFill>
                  <a:schemeClr val="lt2"/>
                </a:solidFill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2pPr>
            <a:lvl3pPr lvl="2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3pPr>
            <a:lvl4pPr lvl="3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4pPr>
            <a:lvl5pPr lvl="4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5pPr>
            <a:lvl6pPr lvl="5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6pPr>
            <a:lvl7pPr lvl="6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7pPr>
            <a:lvl8pPr lvl="7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8pPr>
            <a:lvl9pPr lvl="8" rtl="0">
              <a:spcBef>
                <a:spcPts val="0"/>
              </a:spcBef>
              <a:spcAft>
                <a:spcPts val="0"/>
              </a:spcAft>
              <a:buSzPts val="3000"/>
              <a:buNone/>
              <a:defRPr sz="3000"/>
            </a:lvl9pPr>
          </a:lstStyle>
          <a:p>
            <a:r>
              <a:t>xx%</a:t>
            </a:r>
          </a:p>
        </p:txBody>
      </p:sp>
      <p:sp>
        <p:nvSpPr>
          <p:cNvPr id="469" name="Google Shape;469;p13"/>
          <p:cNvSpPr txBox="1">
            <a:spLocks noGrp="1"/>
          </p:cNvSpPr>
          <p:nvPr>
            <p:ph type="subTitle" idx="17"/>
          </p:nvPr>
        </p:nvSpPr>
        <p:spPr>
          <a:xfrm>
            <a:off x="4707425" y="3890700"/>
            <a:ext cx="2417100" cy="748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2pPr>
            <a:lvl3pPr lvl="2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3pPr>
            <a:lvl4pPr lvl="3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4pPr>
            <a:lvl5pPr lvl="4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5pPr>
            <a:lvl6pPr lvl="5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6pPr>
            <a:lvl7pPr lvl="6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7pPr>
            <a:lvl8pPr lvl="7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8pPr>
            <a:lvl9pPr lvl="8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SzPts val="1600"/>
              <a:buNone/>
              <a:defRPr/>
            </a:lvl9pPr>
          </a:lstStyle>
          <a:p>
            <a:endParaRPr/>
          </a:p>
        </p:txBody>
      </p:sp>
      <p:sp>
        <p:nvSpPr>
          <p:cNvPr id="470" name="Google Shape;470;p13"/>
          <p:cNvSpPr txBox="1">
            <a:spLocks noGrp="1"/>
          </p:cNvSpPr>
          <p:nvPr>
            <p:ph type="title" idx="18"/>
          </p:nvPr>
        </p:nvSpPr>
        <p:spPr>
          <a:xfrm>
            <a:off x="720000" y="445025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ctr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114398795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matchingName="Title and four columns">
  <p:cSld name="Title and four columns">
    <p:spTree>
      <p:nvGrpSpPr>
        <p:cNvPr id="1" name="Shape 573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74" name="Google Shape;574;p16"/>
          <p:cNvSpPr/>
          <p:nvPr/>
        </p:nvSpPr>
        <p:spPr>
          <a:xfrm rot="10800000" flipH="1">
            <a:off x="-574227" y="-197825"/>
            <a:ext cx="3668100" cy="2162400"/>
          </a:xfrm>
          <a:prstGeom prst="rtTriangle">
            <a:avLst/>
          </a:prstGeom>
          <a:solidFill>
            <a:schemeClr val="accent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cxnSp>
        <p:nvCxnSpPr>
          <p:cNvPr id="575" name="Google Shape;575;p16"/>
          <p:cNvCxnSpPr/>
          <p:nvPr/>
        </p:nvCxnSpPr>
        <p:spPr>
          <a:xfrm flipH="1">
            <a:off x="314067" y="-311900"/>
            <a:ext cx="2601300" cy="1525800"/>
          </a:xfrm>
          <a:prstGeom prst="straightConnector1">
            <a:avLst/>
          </a:prstGeom>
          <a:noFill/>
          <a:ln w="28575" cap="flat" cmpd="sng">
            <a:solidFill>
              <a:schemeClr val="lt1"/>
            </a:solidFill>
            <a:prstDash val="lgDash"/>
            <a:round/>
            <a:headEnd type="none" w="med" len="med"/>
            <a:tailEnd type="none" w="med" len="med"/>
          </a:ln>
        </p:spPr>
      </p:cxnSp>
      <p:sp>
        <p:nvSpPr>
          <p:cNvPr id="576" name="Google Shape;576;p16"/>
          <p:cNvSpPr txBox="1">
            <a:spLocks noGrp="1"/>
          </p:cNvSpPr>
          <p:nvPr>
            <p:ph type="title"/>
          </p:nvPr>
        </p:nvSpPr>
        <p:spPr>
          <a:xfrm>
            <a:off x="720000" y="445025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1pPr>
            <a:lvl2pPr lvl="1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2pPr>
            <a:lvl3pPr lvl="2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3pPr>
            <a:lvl4pPr lvl="3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4pPr>
            <a:lvl5pPr lvl="4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5pPr>
            <a:lvl6pPr lvl="5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6pPr>
            <a:lvl7pPr lvl="6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7pPr>
            <a:lvl8pPr lvl="7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8pPr>
            <a:lvl9pPr lvl="8" rtl="0">
              <a:spcBef>
                <a:spcPts val="0"/>
              </a:spcBef>
              <a:spcAft>
                <a:spcPts val="0"/>
              </a:spcAft>
              <a:buSzPts val="2800"/>
              <a:buNone/>
              <a:defRPr/>
            </a:lvl9pPr>
          </a:lstStyle>
          <a:p>
            <a:endParaRPr/>
          </a:p>
        </p:txBody>
      </p:sp>
      <p:sp>
        <p:nvSpPr>
          <p:cNvPr id="577" name="Google Shape;577;p16"/>
          <p:cNvSpPr txBox="1">
            <a:spLocks noGrp="1"/>
          </p:cNvSpPr>
          <p:nvPr>
            <p:ph type="title" idx="2"/>
          </p:nvPr>
        </p:nvSpPr>
        <p:spPr>
          <a:xfrm>
            <a:off x="1424463" y="1454250"/>
            <a:ext cx="28671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18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578" name="Google Shape;578;p16"/>
          <p:cNvSpPr txBox="1">
            <a:spLocks noGrp="1"/>
          </p:cNvSpPr>
          <p:nvPr>
            <p:ph type="subTitle" idx="1"/>
          </p:nvPr>
        </p:nvSpPr>
        <p:spPr>
          <a:xfrm>
            <a:off x="1424438" y="1892275"/>
            <a:ext cx="2867100" cy="84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SzPts val="1600"/>
              <a:buNone/>
              <a:defRPr/>
            </a:lvl9pPr>
          </a:lstStyle>
          <a:p>
            <a:endParaRPr/>
          </a:p>
        </p:txBody>
      </p:sp>
      <p:sp>
        <p:nvSpPr>
          <p:cNvPr id="579" name="Google Shape;579;p16"/>
          <p:cNvSpPr txBox="1">
            <a:spLocks noGrp="1"/>
          </p:cNvSpPr>
          <p:nvPr>
            <p:ph type="title" idx="3"/>
          </p:nvPr>
        </p:nvSpPr>
        <p:spPr>
          <a:xfrm>
            <a:off x="4852443" y="1454250"/>
            <a:ext cx="28671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1800">
                <a:solidFill>
                  <a:schemeClr val="lt2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580" name="Google Shape;580;p16"/>
          <p:cNvSpPr txBox="1">
            <a:spLocks noGrp="1"/>
          </p:cNvSpPr>
          <p:nvPr>
            <p:ph type="subTitle" idx="4"/>
          </p:nvPr>
        </p:nvSpPr>
        <p:spPr>
          <a:xfrm>
            <a:off x="4852413" y="1892275"/>
            <a:ext cx="2867100" cy="84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SzPts val="1600"/>
              <a:buNone/>
              <a:defRPr/>
            </a:lvl9pPr>
          </a:lstStyle>
          <a:p>
            <a:endParaRPr/>
          </a:p>
        </p:txBody>
      </p:sp>
      <p:sp>
        <p:nvSpPr>
          <p:cNvPr id="581" name="Google Shape;581;p16"/>
          <p:cNvSpPr txBox="1">
            <a:spLocks noGrp="1"/>
          </p:cNvSpPr>
          <p:nvPr>
            <p:ph type="title" idx="5"/>
          </p:nvPr>
        </p:nvSpPr>
        <p:spPr>
          <a:xfrm>
            <a:off x="1424463" y="3192450"/>
            <a:ext cx="28671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SzPts val="2400"/>
              <a:buNone/>
              <a:defRPr sz="1800">
                <a:solidFill>
                  <a:schemeClr val="accent1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582" name="Google Shape;582;p16"/>
          <p:cNvSpPr txBox="1">
            <a:spLocks noGrp="1"/>
          </p:cNvSpPr>
          <p:nvPr>
            <p:ph type="subTitle" idx="6"/>
          </p:nvPr>
        </p:nvSpPr>
        <p:spPr>
          <a:xfrm>
            <a:off x="1424438" y="3630475"/>
            <a:ext cx="2867100" cy="84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SzPts val="1600"/>
              <a:buNone/>
              <a:defRPr/>
            </a:lvl9pPr>
          </a:lstStyle>
          <a:p>
            <a:endParaRPr/>
          </a:p>
        </p:txBody>
      </p:sp>
      <p:sp>
        <p:nvSpPr>
          <p:cNvPr id="583" name="Google Shape;583;p16"/>
          <p:cNvSpPr txBox="1">
            <a:spLocks noGrp="1"/>
          </p:cNvSpPr>
          <p:nvPr>
            <p:ph type="title" idx="7"/>
          </p:nvPr>
        </p:nvSpPr>
        <p:spPr>
          <a:xfrm>
            <a:off x="4852443" y="3192450"/>
            <a:ext cx="2867100" cy="527700"/>
          </a:xfrm>
          <a:prstGeom prst="rect">
            <a:avLst/>
          </a:prstGeom>
        </p:spPr>
        <p:txBody>
          <a:bodyPr spcFirstLastPara="1" wrap="square" lIns="91425" tIns="91425" rIns="91425" bIns="91425" anchor="ctr" anchorCtr="0">
            <a:noAutofit/>
          </a:bodyPr>
          <a:lstStyle>
            <a:lvl1pPr lvl="0" algn="r" rtl="0">
              <a:spcBef>
                <a:spcPts val="0"/>
              </a:spcBef>
              <a:spcAft>
                <a:spcPts val="0"/>
              </a:spcAft>
              <a:buSzPts val="2400"/>
              <a:buNone/>
              <a:defRPr sz="1800">
                <a:solidFill>
                  <a:schemeClr val="lt2"/>
                </a:solidFill>
              </a:defRPr>
            </a:lvl1pPr>
            <a:lvl2pPr lvl="1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2pPr>
            <a:lvl3pPr lvl="2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3pPr>
            <a:lvl4pPr lvl="3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4pPr>
            <a:lvl5pPr lvl="4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5pPr>
            <a:lvl6pPr lvl="5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6pPr>
            <a:lvl7pPr lvl="6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7pPr>
            <a:lvl8pPr lvl="7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8pPr>
            <a:lvl9pPr lvl="8" algn="ctr" rtl="0">
              <a:spcBef>
                <a:spcPts val="0"/>
              </a:spcBef>
              <a:spcAft>
                <a:spcPts val="0"/>
              </a:spcAft>
              <a:buSzPts val="2400"/>
              <a:buNone/>
              <a:defRPr sz="2400"/>
            </a:lvl9pPr>
          </a:lstStyle>
          <a:p>
            <a:endParaRPr/>
          </a:p>
        </p:txBody>
      </p:sp>
      <p:sp>
        <p:nvSpPr>
          <p:cNvPr id="584" name="Google Shape;584;p16"/>
          <p:cNvSpPr txBox="1">
            <a:spLocks noGrp="1"/>
          </p:cNvSpPr>
          <p:nvPr>
            <p:ph type="subTitle" idx="8"/>
          </p:nvPr>
        </p:nvSpPr>
        <p:spPr>
          <a:xfrm>
            <a:off x="4852413" y="3630475"/>
            <a:ext cx="2867100" cy="846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>
            <a:lvl1pPr lvl="0" algn="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SzPts val="1400"/>
              <a:buNone/>
              <a:defRPr sz="1400"/>
            </a:lvl1pPr>
            <a:lvl2pPr lvl="1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2pPr>
            <a:lvl3pPr lvl="2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3pPr>
            <a:lvl4pPr lvl="3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4pPr>
            <a:lvl5pPr lvl="4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5pPr>
            <a:lvl6pPr lvl="5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6pPr>
            <a:lvl7pPr lvl="6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7pPr>
            <a:lvl8pPr lvl="7" algn="ctr" rtl="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SzPts val="1600"/>
              <a:buNone/>
              <a:defRPr/>
            </a:lvl8pPr>
            <a:lvl9pPr lvl="8" algn="ctr" rtl="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SzPts val="1600"/>
              <a:buNone/>
              <a:defRPr/>
            </a:lvl9pPr>
          </a:lstStyle>
          <a:p>
            <a:endParaRPr/>
          </a:p>
        </p:txBody>
      </p:sp>
      <p:sp>
        <p:nvSpPr>
          <p:cNvPr id="585" name="Google Shape;585;p16"/>
          <p:cNvSpPr/>
          <p:nvPr/>
        </p:nvSpPr>
        <p:spPr>
          <a:xfrm>
            <a:off x="8345750" y="3481650"/>
            <a:ext cx="3849600" cy="3849600"/>
          </a:xfrm>
          <a:prstGeom prst="ellipse">
            <a:avLst/>
          </a:prstGeom>
          <a:solidFill>
            <a:schemeClr val="dk2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grpSp>
        <p:nvGrpSpPr>
          <p:cNvPr id="586" name="Google Shape;586;p16"/>
          <p:cNvGrpSpPr/>
          <p:nvPr/>
        </p:nvGrpSpPr>
        <p:grpSpPr>
          <a:xfrm rot="-5400000" flipH="1">
            <a:off x="8481307" y="3799553"/>
            <a:ext cx="993065" cy="993065"/>
            <a:chOff x="238125" y="2189800"/>
            <a:chExt cx="1119325" cy="1119325"/>
          </a:xfrm>
        </p:grpSpPr>
        <p:sp>
          <p:nvSpPr>
            <p:cNvPr id="587" name="Google Shape;587;p16"/>
            <p:cNvSpPr/>
            <p:nvPr/>
          </p:nvSpPr>
          <p:spPr>
            <a:xfrm>
              <a:off x="289900" y="2241600"/>
              <a:ext cx="267950" cy="267950"/>
            </a:xfrm>
            <a:custGeom>
              <a:avLst/>
              <a:gdLst/>
              <a:ahLst/>
              <a:cxnLst/>
              <a:rect l="l" t="t" r="r" b="b"/>
              <a:pathLst>
                <a:path w="10718" h="10718" extrusionOk="0">
                  <a:moveTo>
                    <a:pt x="10717" y="1"/>
                  </a:moveTo>
                  <a:lnTo>
                    <a:pt x="10717" y="1"/>
                  </a:lnTo>
                  <a:cubicBezTo>
                    <a:pt x="8382" y="1104"/>
                    <a:pt x="6257" y="2604"/>
                    <a:pt x="4431" y="4431"/>
                  </a:cubicBezTo>
                  <a:cubicBezTo>
                    <a:pt x="2604" y="6255"/>
                    <a:pt x="1106" y="8382"/>
                    <a:pt x="1" y="10717"/>
                  </a:cubicBezTo>
                  <a:lnTo>
                    <a:pt x="10717" y="1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8" name="Google Shape;588;p16"/>
            <p:cNvSpPr/>
            <p:nvPr/>
          </p:nvSpPr>
          <p:spPr>
            <a:xfrm>
              <a:off x="238275" y="2189975"/>
              <a:ext cx="511350" cy="511375"/>
            </a:xfrm>
            <a:custGeom>
              <a:avLst/>
              <a:gdLst/>
              <a:ahLst/>
              <a:cxnLst/>
              <a:rect l="l" t="t" r="r" b="b"/>
              <a:pathLst>
                <a:path w="20454" h="20455" extrusionOk="0">
                  <a:moveTo>
                    <a:pt x="20453" y="1"/>
                  </a:moveTo>
                  <a:lnTo>
                    <a:pt x="20453" y="1"/>
                  </a:lnTo>
                  <a:cubicBezTo>
                    <a:pt x="19736" y="63"/>
                    <a:pt x="19023" y="158"/>
                    <a:pt x="18312" y="287"/>
                  </a:cubicBezTo>
                  <a:lnTo>
                    <a:pt x="289" y="18312"/>
                  </a:lnTo>
                  <a:cubicBezTo>
                    <a:pt x="159" y="19023"/>
                    <a:pt x="63" y="19736"/>
                    <a:pt x="1" y="20455"/>
                  </a:cubicBezTo>
                  <a:lnTo>
                    <a:pt x="20453" y="1"/>
                  </a:ln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89" name="Google Shape;589;p16"/>
            <p:cNvSpPr/>
            <p:nvPr/>
          </p:nvSpPr>
          <p:spPr>
            <a:xfrm>
              <a:off x="238125" y="2189800"/>
              <a:ext cx="646975" cy="646950"/>
            </a:xfrm>
            <a:custGeom>
              <a:avLst/>
              <a:gdLst/>
              <a:ahLst/>
              <a:cxnLst/>
              <a:rect l="l" t="t" r="r" b="b"/>
              <a:pathLst>
                <a:path w="25879" h="25878" extrusionOk="0">
                  <a:moveTo>
                    <a:pt x="24220" y="1"/>
                  </a:moveTo>
                  <a:lnTo>
                    <a:pt x="0" y="24221"/>
                  </a:lnTo>
                  <a:cubicBezTo>
                    <a:pt x="46" y="24774"/>
                    <a:pt x="111" y="25327"/>
                    <a:pt x="197" y="25877"/>
                  </a:cubicBezTo>
                  <a:lnTo>
                    <a:pt x="25878" y="197"/>
                  </a:lnTo>
                  <a:cubicBezTo>
                    <a:pt x="25328" y="111"/>
                    <a:pt x="24775" y="45"/>
                    <a:pt x="24220" y="1"/>
                  </a:cubicBez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0" name="Google Shape;590;p16"/>
            <p:cNvSpPr/>
            <p:nvPr/>
          </p:nvSpPr>
          <p:spPr>
            <a:xfrm>
              <a:off x="260500" y="2212175"/>
              <a:ext cx="735575" cy="735575"/>
            </a:xfrm>
            <a:custGeom>
              <a:avLst/>
              <a:gdLst/>
              <a:ahLst/>
              <a:cxnLst/>
              <a:rect l="l" t="t" r="r" b="b"/>
              <a:pathLst>
                <a:path w="29423" h="29423" extrusionOk="0">
                  <a:moveTo>
                    <a:pt x="28037" y="0"/>
                  </a:moveTo>
                  <a:lnTo>
                    <a:pt x="1" y="28036"/>
                  </a:lnTo>
                  <a:cubicBezTo>
                    <a:pt x="143" y="28502"/>
                    <a:pt x="298" y="28964"/>
                    <a:pt x="470" y="29423"/>
                  </a:cubicBezTo>
                  <a:lnTo>
                    <a:pt x="29422" y="471"/>
                  </a:lnTo>
                  <a:cubicBezTo>
                    <a:pt x="28965" y="299"/>
                    <a:pt x="28503" y="142"/>
                    <a:pt x="28037" y="0"/>
                  </a:cubicBez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1" name="Google Shape;591;p16"/>
            <p:cNvSpPr/>
            <p:nvPr/>
          </p:nvSpPr>
          <p:spPr>
            <a:xfrm>
              <a:off x="301425" y="2253075"/>
              <a:ext cx="788775" cy="788825"/>
            </a:xfrm>
            <a:custGeom>
              <a:avLst/>
              <a:gdLst/>
              <a:ahLst/>
              <a:cxnLst/>
              <a:rect l="l" t="t" r="r" b="b"/>
              <a:pathLst>
                <a:path w="31551" h="31553" extrusionOk="0">
                  <a:moveTo>
                    <a:pt x="30370" y="1"/>
                  </a:moveTo>
                  <a:lnTo>
                    <a:pt x="0" y="30371"/>
                  </a:lnTo>
                  <a:cubicBezTo>
                    <a:pt x="211" y="30770"/>
                    <a:pt x="436" y="31164"/>
                    <a:pt x="675" y="31552"/>
                  </a:cubicBezTo>
                  <a:lnTo>
                    <a:pt x="31551" y="675"/>
                  </a:lnTo>
                  <a:cubicBezTo>
                    <a:pt x="31163" y="437"/>
                    <a:pt x="30770" y="213"/>
                    <a:pt x="30370" y="1"/>
                  </a:cubicBez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2" name="Google Shape;592;p16"/>
            <p:cNvSpPr/>
            <p:nvPr/>
          </p:nvSpPr>
          <p:spPr>
            <a:xfrm>
              <a:off x="356800" y="2308450"/>
              <a:ext cx="813925" cy="813925"/>
            </a:xfrm>
            <a:custGeom>
              <a:avLst/>
              <a:gdLst/>
              <a:ahLst/>
              <a:cxnLst/>
              <a:rect l="l" t="t" r="r" b="b"/>
              <a:pathLst>
                <a:path w="32557" h="32557" extrusionOk="0">
                  <a:moveTo>
                    <a:pt x="31547" y="1"/>
                  </a:moveTo>
                  <a:lnTo>
                    <a:pt x="0" y="31549"/>
                  </a:lnTo>
                  <a:cubicBezTo>
                    <a:pt x="270" y="31890"/>
                    <a:pt x="552" y="32227"/>
                    <a:pt x="846" y="32556"/>
                  </a:cubicBezTo>
                  <a:lnTo>
                    <a:pt x="32556" y="848"/>
                  </a:lnTo>
                  <a:cubicBezTo>
                    <a:pt x="32226" y="554"/>
                    <a:pt x="31890" y="272"/>
                    <a:pt x="31547" y="1"/>
                  </a:cubicBez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3" name="Google Shape;593;p16"/>
            <p:cNvSpPr/>
            <p:nvPr/>
          </p:nvSpPr>
          <p:spPr>
            <a:xfrm>
              <a:off x="424825" y="2376525"/>
              <a:ext cx="813925" cy="813925"/>
            </a:xfrm>
            <a:custGeom>
              <a:avLst/>
              <a:gdLst/>
              <a:ahLst/>
              <a:cxnLst/>
              <a:rect l="l" t="t" r="r" b="b"/>
              <a:pathLst>
                <a:path w="32557" h="32557" extrusionOk="0">
                  <a:moveTo>
                    <a:pt x="31711" y="1"/>
                  </a:moveTo>
                  <a:lnTo>
                    <a:pt x="1" y="31709"/>
                  </a:lnTo>
                  <a:cubicBezTo>
                    <a:pt x="331" y="32003"/>
                    <a:pt x="667" y="32286"/>
                    <a:pt x="1010" y="32556"/>
                  </a:cubicBezTo>
                  <a:lnTo>
                    <a:pt x="32557" y="1010"/>
                  </a:lnTo>
                  <a:cubicBezTo>
                    <a:pt x="32287" y="667"/>
                    <a:pt x="32005" y="330"/>
                    <a:pt x="31711" y="1"/>
                  </a:cubicBez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4" name="Google Shape;594;p16"/>
            <p:cNvSpPr/>
            <p:nvPr/>
          </p:nvSpPr>
          <p:spPr>
            <a:xfrm>
              <a:off x="505350" y="2457000"/>
              <a:ext cx="788775" cy="788875"/>
            </a:xfrm>
            <a:custGeom>
              <a:avLst/>
              <a:gdLst/>
              <a:ahLst/>
              <a:cxnLst/>
              <a:rect l="l" t="t" r="r" b="b"/>
              <a:pathLst>
                <a:path w="31551" h="31555" extrusionOk="0">
                  <a:moveTo>
                    <a:pt x="30878" y="1"/>
                  </a:moveTo>
                  <a:lnTo>
                    <a:pt x="0" y="30879"/>
                  </a:lnTo>
                  <a:cubicBezTo>
                    <a:pt x="388" y="31116"/>
                    <a:pt x="782" y="31340"/>
                    <a:pt x="1181" y="31554"/>
                  </a:cubicBezTo>
                  <a:lnTo>
                    <a:pt x="31551" y="1182"/>
                  </a:lnTo>
                  <a:cubicBezTo>
                    <a:pt x="31340" y="783"/>
                    <a:pt x="31116" y="389"/>
                    <a:pt x="30878" y="1"/>
                  </a:cubicBez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5" name="Google Shape;595;p16"/>
            <p:cNvSpPr/>
            <p:nvPr/>
          </p:nvSpPr>
          <p:spPr>
            <a:xfrm>
              <a:off x="599500" y="2551175"/>
              <a:ext cx="735550" cy="735550"/>
            </a:xfrm>
            <a:custGeom>
              <a:avLst/>
              <a:gdLst/>
              <a:ahLst/>
              <a:cxnLst/>
              <a:rect l="l" t="t" r="r" b="b"/>
              <a:pathLst>
                <a:path w="29422" h="29422" extrusionOk="0">
                  <a:moveTo>
                    <a:pt x="28952" y="1"/>
                  </a:moveTo>
                  <a:lnTo>
                    <a:pt x="0" y="28953"/>
                  </a:lnTo>
                  <a:cubicBezTo>
                    <a:pt x="457" y="29125"/>
                    <a:pt x="919" y="29282"/>
                    <a:pt x="1385" y="29422"/>
                  </a:cubicBezTo>
                  <a:lnTo>
                    <a:pt x="29421" y="1386"/>
                  </a:lnTo>
                  <a:cubicBezTo>
                    <a:pt x="29281" y="920"/>
                    <a:pt x="29124" y="458"/>
                    <a:pt x="28952" y="1"/>
                  </a:cubicBez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6" name="Google Shape;596;p16"/>
            <p:cNvSpPr/>
            <p:nvPr/>
          </p:nvSpPr>
          <p:spPr>
            <a:xfrm>
              <a:off x="710450" y="2662150"/>
              <a:ext cx="647000" cy="646975"/>
            </a:xfrm>
            <a:custGeom>
              <a:avLst/>
              <a:gdLst/>
              <a:ahLst/>
              <a:cxnLst/>
              <a:rect l="l" t="t" r="r" b="b"/>
              <a:pathLst>
                <a:path w="25880" h="25879" extrusionOk="0">
                  <a:moveTo>
                    <a:pt x="25682" y="1"/>
                  </a:moveTo>
                  <a:lnTo>
                    <a:pt x="1" y="25681"/>
                  </a:lnTo>
                  <a:cubicBezTo>
                    <a:pt x="552" y="25767"/>
                    <a:pt x="1104" y="25833"/>
                    <a:pt x="1659" y="25879"/>
                  </a:cubicBezTo>
                  <a:lnTo>
                    <a:pt x="25879" y="1659"/>
                  </a:lnTo>
                  <a:cubicBezTo>
                    <a:pt x="25834" y="1104"/>
                    <a:pt x="25768" y="551"/>
                    <a:pt x="25682" y="1"/>
                  </a:cubicBez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7" name="Google Shape;597;p16"/>
            <p:cNvSpPr/>
            <p:nvPr/>
          </p:nvSpPr>
          <p:spPr>
            <a:xfrm>
              <a:off x="845925" y="2797575"/>
              <a:ext cx="511350" cy="511350"/>
            </a:xfrm>
            <a:custGeom>
              <a:avLst/>
              <a:gdLst/>
              <a:ahLst/>
              <a:cxnLst/>
              <a:rect l="l" t="t" r="r" b="b"/>
              <a:pathLst>
                <a:path w="20454" h="20454" extrusionOk="0">
                  <a:moveTo>
                    <a:pt x="20453" y="1"/>
                  </a:moveTo>
                  <a:lnTo>
                    <a:pt x="1" y="20453"/>
                  </a:lnTo>
                  <a:cubicBezTo>
                    <a:pt x="718" y="20391"/>
                    <a:pt x="1431" y="20297"/>
                    <a:pt x="2142" y="20167"/>
                  </a:cubicBezTo>
                  <a:lnTo>
                    <a:pt x="20165" y="2142"/>
                  </a:lnTo>
                  <a:cubicBezTo>
                    <a:pt x="20295" y="1433"/>
                    <a:pt x="20391" y="720"/>
                    <a:pt x="20453" y="1"/>
                  </a:cubicBez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598" name="Google Shape;598;p16"/>
            <p:cNvSpPr/>
            <p:nvPr/>
          </p:nvSpPr>
          <p:spPr>
            <a:xfrm>
              <a:off x="1037700" y="2989400"/>
              <a:ext cx="267950" cy="267900"/>
            </a:xfrm>
            <a:custGeom>
              <a:avLst/>
              <a:gdLst/>
              <a:ahLst/>
              <a:cxnLst/>
              <a:rect l="l" t="t" r="r" b="b"/>
              <a:pathLst>
                <a:path w="10718" h="10716" extrusionOk="0">
                  <a:moveTo>
                    <a:pt x="10717" y="1"/>
                  </a:moveTo>
                  <a:lnTo>
                    <a:pt x="1" y="10715"/>
                  </a:lnTo>
                  <a:cubicBezTo>
                    <a:pt x="4703" y="8488"/>
                    <a:pt x="8489" y="4703"/>
                    <a:pt x="10717" y="1"/>
                  </a:cubicBezTo>
                  <a:close/>
                </a:path>
              </a:pathLst>
            </a:custGeom>
            <a:solidFill>
              <a:schemeClr val="accent1"/>
            </a:solidFill>
            <a:ln w="9525" cap="flat" cmpd="sng">
              <a:solidFill>
                <a:schemeClr val="accent1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599" name="Google Shape;599;p16"/>
          <p:cNvGrpSpPr/>
          <p:nvPr/>
        </p:nvGrpSpPr>
        <p:grpSpPr>
          <a:xfrm rot="-5400000" flipH="1">
            <a:off x="8423993" y="-1056069"/>
            <a:ext cx="1756445" cy="1756445"/>
            <a:chOff x="238125" y="2189800"/>
            <a:chExt cx="1119325" cy="1119325"/>
          </a:xfrm>
        </p:grpSpPr>
        <p:sp>
          <p:nvSpPr>
            <p:cNvPr id="600" name="Google Shape;600;p16"/>
            <p:cNvSpPr/>
            <p:nvPr/>
          </p:nvSpPr>
          <p:spPr>
            <a:xfrm>
              <a:off x="289900" y="2241600"/>
              <a:ext cx="267950" cy="267950"/>
            </a:xfrm>
            <a:custGeom>
              <a:avLst/>
              <a:gdLst/>
              <a:ahLst/>
              <a:cxnLst/>
              <a:rect l="l" t="t" r="r" b="b"/>
              <a:pathLst>
                <a:path w="10718" h="10718" extrusionOk="0">
                  <a:moveTo>
                    <a:pt x="10717" y="1"/>
                  </a:moveTo>
                  <a:lnTo>
                    <a:pt x="10717" y="1"/>
                  </a:lnTo>
                  <a:cubicBezTo>
                    <a:pt x="8382" y="1104"/>
                    <a:pt x="6257" y="2604"/>
                    <a:pt x="4431" y="4431"/>
                  </a:cubicBezTo>
                  <a:cubicBezTo>
                    <a:pt x="2604" y="6255"/>
                    <a:pt x="1106" y="8382"/>
                    <a:pt x="1" y="10717"/>
                  </a:cubicBezTo>
                  <a:lnTo>
                    <a:pt x="10717" y="1"/>
                  </a:ln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1" name="Google Shape;601;p16"/>
            <p:cNvSpPr/>
            <p:nvPr/>
          </p:nvSpPr>
          <p:spPr>
            <a:xfrm>
              <a:off x="238275" y="2189975"/>
              <a:ext cx="511350" cy="511375"/>
            </a:xfrm>
            <a:custGeom>
              <a:avLst/>
              <a:gdLst/>
              <a:ahLst/>
              <a:cxnLst/>
              <a:rect l="l" t="t" r="r" b="b"/>
              <a:pathLst>
                <a:path w="20454" h="20455" extrusionOk="0">
                  <a:moveTo>
                    <a:pt x="20453" y="1"/>
                  </a:moveTo>
                  <a:lnTo>
                    <a:pt x="20453" y="1"/>
                  </a:lnTo>
                  <a:cubicBezTo>
                    <a:pt x="19736" y="63"/>
                    <a:pt x="19023" y="158"/>
                    <a:pt x="18312" y="287"/>
                  </a:cubicBezTo>
                  <a:lnTo>
                    <a:pt x="289" y="18312"/>
                  </a:lnTo>
                  <a:cubicBezTo>
                    <a:pt x="159" y="19023"/>
                    <a:pt x="63" y="19736"/>
                    <a:pt x="1" y="20455"/>
                  </a:cubicBezTo>
                  <a:lnTo>
                    <a:pt x="20453" y="1"/>
                  </a:ln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2" name="Google Shape;602;p16"/>
            <p:cNvSpPr/>
            <p:nvPr/>
          </p:nvSpPr>
          <p:spPr>
            <a:xfrm>
              <a:off x="238125" y="2189800"/>
              <a:ext cx="646975" cy="646950"/>
            </a:xfrm>
            <a:custGeom>
              <a:avLst/>
              <a:gdLst/>
              <a:ahLst/>
              <a:cxnLst/>
              <a:rect l="l" t="t" r="r" b="b"/>
              <a:pathLst>
                <a:path w="25879" h="25878" extrusionOk="0">
                  <a:moveTo>
                    <a:pt x="24220" y="1"/>
                  </a:moveTo>
                  <a:lnTo>
                    <a:pt x="0" y="24221"/>
                  </a:lnTo>
                  <a:cubicBezTo>
                    <a:pt x="46" y="24774"/>
                    <a:pt x="111" y="25327"/>
                    <a:pt x="197" y="25877"/>
                  </a:cubicBezTo>
                  <a:lnTo>
                    <a:pt x="25878" y="197"/>
                  </a:lnTo>
                  <a:cubicBezTo>
                    <a:pt x="25328" y="111"/>
                    <a:pt x="24775" y="45"/>
                    <a:pt x="24220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3" name="Google Shape;603;p16"/>
            <p:cNvSpPr/>
            <p:nvPr/>
          </p:nvSpPr>
          <p:spPr>
            <a:xfrm>
              <a:off x="260500" y="2212175"/>
              <a:ext cx="735575" cy="735575"/>
            </a:xfrm>
            <a:custGeom>
              <a:avLst/>
              <a:gdLst/>
              <a:ahLst/>
              <a:cxnLst/>
              <a:rect l="l" t="t" r="r" b="b"/>
              <a:pathLst>
                <a:path w="29423" h="29423" extrusionOk="0">
                  <a:moveTo>
                    <a:pt x="28037" y="0"/>
                  </a:moveTo>
                  <a:lnTo>
                    <a:pt x="1" y="28036"/>
                  </a:lnTo>
                  <a:cubicBezTo>
                    <a:pt x="143" y="28502"/>
                    <a:pt x="298" y="28964"/>
                    <a:pt x="470" y="29423"/>
                  </a:cubicBezTo>
                  <a:lnTo>
                    <a:pt x="29422" y="471"/>
                  </a:lnTo>
                  <a:cubicBezTo>
                    <a:pt x="28965" y="299"/>
                    <a:pt x="28503" y="142"/>
                    <a:pt x="28037" y="0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4" name="Google Shape;604;p16"/>
            <p:cNvSpPr/>
            <p:nvPr/>
          </p:nvSpPr>
          <p:spPr>
            <a:xfrm>
              <a:off x="301425" y="2253075"/>
              <a:ext cx="788775" cy="788825"/>
            </a:xfrm>
            <a:custGeom>
              <a:avLst/>
              <a:gdLst/>
              <a:ahLst/>
              <a:cxnLst/>
              <a:rect l="l" t="t" r="r" b="b"/>
              <a:pathLst>
                <a:path w="31551" h="31553" extrusionOk="0">
                  <a:moveTo>
                    <a:pt x="30370" y="1"/>
                  </a:moveTo>
                  <a:lnTo>
                    <a:pt x="0" y="30371"/>
                  </a:lnTo>
                  <a:cubicBezTo>
                    <a:pt x="211" y="30770"/>
                    <a:pt x="436" y="31164"/>
                    <a:pt x="675" y="31552"/>
                  </a:cubicBezTo>
                  <a:lnTo>
                    <a:pt x="31551" y="675"/>
                  </a:lnTo>
                  <a:cubicBezTo>
                    <a:pt x="31163" y="437"/>
                    <a:pt x="30770" y="213"/>
                    <a:pt x="30370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5" name="Google Shape;605;p16"/>
            <p:cNvSpPr/>
            <p:nvPr/>
          </p:nvSpPr>
          <p:spPr>
            <a:xfrm>
              <a:off x="356800" y="2308450"/>
              <a:ext cx="813925" cy="813925"/>
            </a:xfrm>
            <a:custGeom>
              <a:avLst/>
              <a:gdLst/>
              <a:ahLst/>
              <a:cxnLst/>
              <a:rect l="l" t="t" r="r" b="b"/>
              <a:pathLst>
                <a:path w="32557" h="32557" extrusionOk="0">
                  <a:moveTo>
                    <a:pt x="31547" y="1"/>
                  </a:moveTo>
                  <a:lnTo>
                    <a:pt x="0" y="31549"/>
                  </a:lnTo>
                  <a:cubicBezTo>
                    <a:pt x="270" y="31890"/>
                    <a:pt x="552" y="32227"/>
                    <a:pt x="846" y="32556"/>
                  </a:cubicBezTo>
                  <a:lnTo>
                    <a:pt x="32556" y="848"/>
                  </a:lnTo>
                  <a:cubicBezTo>
                    <a:pt x="32226" y="554"/>
                    <a:pt x="31890" y="272"/>
                    <a:pt x="31547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6" name="Google Shape;606;p16"/>
            <p:cNvSpPr/>
            <p:nvPr/>
          </p:nvSpPr>
          <p:spPr>
            <a:xfrm>
              <a:off x="424825" y="2376525"/>
              <a:ext cx="813925" cy="813925"/>
            </a:xfrm>
            <a:custGeom>
              <a:avLst/>
              <a:gdLst/>
              <a:ahLst/>
              <a:cxnLst/>
              <a:rect l="l" t="t" r="r" b="b"/>
              <a:pathLst>
                <a:path w="32557" h="32557" extrusionOk="0">
                  <a:moveTo>
                    <a:pt x="31711" y="1"/>
                  </a:moveTo>
                  <a:lnTo>
                    <a:pt x="1" y="31709"/>
                  </a:lnTo>
                  <a:cubicBezTo>
                    <a:pt x="331" y="32003"/>
                    <a:pt x="667" y="32286"/>
                    <a:pt x="1010" y="32556"/>
                  </a:cubicBezTo>
                  <a:lnTo>
                    <a:pt x="32557" y="1010"/>
                  </a:lnTo>
                  <a:cubicBezTo>
                    <a:pt x="32287" y="667"/>
                    <a:pt x="32005" y="330"/>
                    <a:pt x="31711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7" name="Google Shape;607;p16"/>
            <p:cNvSpPr/>
            <p:nvPr/>
          </p:nvSpPr>
          <p:spPr>
            <a:xfrm>
              <a:off x="505350" y="2457000"/>
              <a:ext cx="788775" cy="788875"/>
            </a:xfrm>
            <a:custGeom>
              <a:avLst/>
              <a:gdLst/>
              <a:ahLst/>
              <a:cxnLst/>
              <a:rect l="l" t="t" r="r" b="b"/>
              <a:pathLst>
                <a:path w="31551" h="31555" extrusionOk="0">
                  <a:moveTo>
                    <a:pt x="30878" y="1"/>
                  </a:moveTo>
                  <a:lnTo>
                    <a:pt x="0" y="30879"/>
                  </a:lnTo>
                  <a:cubicBezTo>
                    <a:pt x="388" y="31116"/>
                    <a:pt x="782" y="31340"/>
                    <a:pt x="1181" y="31554"/>
                  </a:cubicBezTo>
                  <a:lnTo>
                    <a:pt x="31551" y="1182"/>
                  </a:lnTo>
                  <a:cubicBezTo>
                    <a:pt x="31340" y="783"/>
                    <a:pt x="31116" y="389"/>
                    <a:pt x="30878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8" name="Google Shape;608;p16"/>
            <p:cNvSpPr/>
            <p:nvPr/>
          </p:nvSpPr>
          <p:spPr>
            <a:xfrm>
              <a:off x="599500" y="2551175"/>
              <a:ext cx="735550" cy="735550"/>
            </a:xfrm>
            <a:custGeom>
              <a:avLst/>
              <a:gdLst/>
              <a:ahLst/>
              <a:cxnLst/>
              <a:rect l="l" t="t" r="r" b="b"/>
              <a:pathLst>
                <a:path w="29422" h="29422" extrusionOk="0">
                  <a:moveTo>
                    <a:pt x="28952" y="1"/>
                  </a:moveTo>
                  <a:lnTo>
                    <a:pt x="0" y="28953"/>
                  </a:lnTo>
                  <a:cubicBezTo>
                    <a:pt x="457" y="29125"/>
                    <a:pt x="919" y="29282"/>
                    <a:pt x="1385" y="29422"/>
                  </a:cubicBezTo>
                  <a:lnTo>
                    <a:pt x="29421" y="1386"/>
                  </a:lnTo>
                  <a:cubicBezTo>
                    <a:pt x="29281" y="920"/>
                    <a:pt x="29124" y="458"/>
                    <a:pt x="28952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09" name="Google Shape;609;p16"/>
            <p:cNvSpPr/>
            <p:nvPr/>
          </p:nvSpPr>
          <p:spPr>
            <a:xfrm>
              <a:off x="710450" y="2662150"/>
              <a:ext cx="647000" cy="646975"/>
            </a:xfrm>
            <a:custGeom>
              <a:avLst/>
              <a:gdLst/>
              <a:ahLst/>
              <a:cxnLst/>
              <a:rect l="l" t="t" r="r" b="b"/>
              <a:pathLst>
                <a:path w="25880" h="25879" extrusionOk="0">
                  <a:moveTo>
                    <a:pt x="25682" y="1"/>
                  </a:moveTo>
                  <a:lnTo>
                    <a:pt x="1" y="25681"/>
                  </a:lnTo>
                  <a:cubicBezTo>
                    <a:pt x="552" y="25767"/>
                    <a:pt x="1104" y="25833"/>
                    <a:pt x="1659" y="25879"/>
                  </a:cubicBezTo>
                  <a:lnTo>
                    <a:pt x="25879" y="1659"/>
                  </a:lnTo>
                  <a:cubicBezTo>
                    <a:pt x="25834" y="1104"/>
                    <a:pt x="25768" y="551"/>
                    <a:pt x="25682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0" name="Google Shape;610;p16"/>
            <p:cNvSpPr/>
            <p:nvPr/>
          </p:nvSpPr>
          <p:spPr>
            <a:xfrm>
              <a:off x="845925" y="2797575"/>
              <a:ext cx="511350" cy="511350"/>
            </a:xfrm>
            <a:custGeom>
              <a:avLst/>
              <a:gdLst/>
              <a:ahLst/>
              <a:cxnLst/>
              <a:rect l="l" t="t" r="r" b="b"/>
              <a:pathLst>
                <a:path w="20454" h="20454" extrusionOk="0">
                  <a:moveTo>
                    <a:pt x="20453" y="1"/>
                  </a:moveTo>
                  <a:lnTo>
                    <a:pt x="1" y="20453"/>
                  </a:lnTo>
                  <a:cubicBezTo>
                    <a:pt x="718" y="20391"/>
                    <a:pt x="1431" y="20297"/>
                    <a:pt x="2142" y="20167"/>
                  </a:cubicBezTo>
                  <a:lnTo>
                    <a:pt x="20165" y="2142"/>
                  </a:lnTo>
                  <a:cubicBezTo>
                    <a:pt x="20295" y="1433"/>
                    <a:pt x="20391" y="720"/>
                    <a:pt x="20453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1" name="Google Shape;611;p16"/>
            <p:cNvSpPr/>
            <p:nvPr/>
          </p:nvSpPr>
          <p:spPr>
            <a:xfrm>
              <a:off x="1037700" y="2989400"/>
              <a:ext cx="267950" cy="267900"/>
            </a:xfrm>
            <a:custGeom>
              <a:avLst/>
              <a:gdLst/>
              <a:ahLst/>
              <a:cxnLst/>
              <a:rect l="l" t="t" r="r" b="b"/>
              <a:pathLst>
                <a:path w="10718" h="10716" extrusionOk="0">
                  <a:moveTo>
                    <a:pt x="10717" y="1"/>
                  </a:moveTo>
                  <a:lnTo>
                    <a:pt x="1" y="10715"/>
                  </a:lnTo>
                  <a:cubicBezTo>
                    <a:pt x="4703" y="8488"/>
                    <a:pt x="8489" y="4703"/>
                    <a:pt x="10717" y="1"/>
                  </a:cubicBezTo>
                  <a:close/>
                </a:path>
              </a:pathLst>
            </a:custGeom>
            <a:solidFill>
              <a:schemeClr val="lt2"/>
            </a:solidFill>
            <a:ln w="9525" cap="flat" cmpd="sng">
              <a:solidFill>
                <a:schemeClr val="lt2"/>
              </a:solidFill>
              <a:prstDash val="solid"/>
              <a:round/>
              <a:headEnd type="none" w="sm" len="sm"/>
              <a:tailEnd type="none" w="sm" len="sm"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12" name="Google Shape;612;p16"/>
          <p:cNvGrpSpPr/>
          <p:nvPr/>
        </p:nvGrpSpPr>
        <p:grpSpPr>
          <a:xfrm flipH="1">
            <a:off x="314088" y="4706293"/>
            <a:ext cx="192998" cy="192646"/>
            <a:chOff x="3510300" y="2634425"/>
            <a:chExt cx="576975" cy="575750"/>
          </a:xfrm>
        </p:grpSpPr>
        <p:sp>
          <p:nvSpPr>
            <p:cNvPr id="613" name="Google Shape;613;p16"/>
            <p:cNvSpPr/>
            <p:nvPr/>
          </p:nvSpPr>
          <p:spPr>
            <a:xfrm>
              <a:off x="3743325" y="2634425"/>
              <a:ext cx="110925" cy="575750"/>
            </a:xfrm>
            <a:custGeom>
              <a:avLst/>
              <a:gdLst/>
              <a:ahLst/>
              <a:cxnLst/>
              <a:rect l="l" t="t" r="r" b="b"/>
              <a:pathLst>
                <a:path w="4437" h="23030" extrusionOk="0">
                  <a:moveTo>
                    <a:pt x="2193" y="1"/>
                  </a:moveTo>
                  <a:cubicBezTo>
                    <a:pt x="997" y="1"/>
                    <a:pt x="0" y="998"/>
                    <a:pt x="0" y="2194"/>
                  </a:cubicBezTo>
                  <a:lnTo>
                    <a:pt x="0" y="20786"/>
                  </a:lnTo>
                  <a:cubicBezTo>
                    <a:pt x="0" y="22032"/>
                    <a:pt x="997" y="23029"/>
                    <a:pt x="2193" y="23029"/>
                  </a:cubicBezTo>
                  <a:cubicBezTo>
                    <a:pt x="3440" y="23029"/>
                    <a:pt x="4437" y="22032"/>
                    <a:pt x="4437" y="20786"/>
                  </a:cubicBezTo>
                  <a:lnTo>
                    <a:pt x="4437" y="2194"/>
                  </a:lnTo>
                  <a:cubicBezTo>
                    <a:pt x="4437" y="998"/>
                    <a:pt x="3440" y="1"/>
                    <a:pt x="2193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4" name="Google Shape;614;p16"/>
            <p:cNvSpPr/>
            <p:nvPr/>
          </p:nvSpPr>
          <p:spPr>
            <a:xfrm>
              <a:off x="3510300" y="2866200"/>
              <a:ext cx="576975" cy="112175"/>
            </a:xfrm>
            <a:custGeom>
              <a:avLst/>
              <a:gdLst/>
              <a:ahLst/>
              <a:cxnLst/>
              <a:rect l="l" t="t" r="r" b="b"/>
              <a:pathLst>
                <a:path w="23079" h="4487" extrusionOk="0">
                  <a:moveTo>
                    <a:pt x="2243" y="1"/>
                  </a:moveTo>
                  <a:cubicBezTo>
                    <a:pt x="997" y="1"/>
                    <a:pt x="0" y="998"/>
                    <a:pt x="0" y="2244"/>
                  </a:cubicBezTo>
                  <a:cubicBezTo>
                    <a:pt x="0" y="3440"/>
                    <a:pt x="997" y="4437"/>
                    <a:pt x="2243" y="4487"/>
                  </a:cubicBezTo>
                  <a:lnTo>
                    <a:pt x="20836" y="4487"/>
                  </a:lnTo>
                  <a:cubicBezTo>
                    <a:pt x="22082" y="4437"/>
                    <a:pt x="23079" y="3440"/>
                    <a:pt x="23079" y="2244"/>
                  </a:cubicBezTo>
                  <a:cubicBezTo>
                    <a:pt x="23029" y="998"/>
                    <a:pt x="22032" y="1"/>
                    <a:pt x="20836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  <p:grpSp>
        <p:nvGrpSpPr>
          <p:cNvPr id="615" name="Google Shape;615;p16"/>
          <p:cNvGrpSpPr/>
          <p:nvPr/>
        </p:nvGrpSpPr>
        <p:grpSpPr>
          <a:xfrm flipH="1">
            <a:off x="97068" y="4354287"/>
            <a:ext cx="352705" cy="352014"/>
            <a:chOff x="3510300" y="2634425"/>
            <a:chExt cx="576975" cy="575750"/>
          </a:xfrm>
        </p:grpSpPr>
        <p:sp>
          <p:nvSpPr>
            <p:cNvPr id="616" name="Google Shape;616;p16"/>
            <p:cNvSpPr/>
            <p:nvPr/>
          </p:nvSpPr>
          <p:spPr>
            <a:xfrm>
              <a:off x="3743325" y="2634425"/>
              <a:ext cx="110925" cy="575750"/>
            </a:xfrm>
            <a:custGeom>
              <a:avLst/>
              <a:gdLst/>
              <a:ahLst/>
              <a:cxnLst/>
              <a:rect l="l" t="t" r="r" b="b"/>
              <a:pathLst>
                <a:path w="4437" h="23030" extrusionOk="0">
                  <a:moveTo>
                    <a:pt x="2193" y="1"/>
                  </a:moveTo>
                  <a:cubicBezTo>
                    <a:pt x="997" y="1"/>
                    <a:pt x="0" y="998"/>
                    <a:pt x="0" y="2194"/>
                  </a:cubicBezTo>
                  <a:lnTo>
                    <a:pt x="0" y="20786"/>
                  </a:lnTo>
                  <a:cubicBezTo>
                    <a:pt x="0" y="22032"/>
                    <a:pt x="997" y="23029"/>
                    <a:pt x="2193" y="23029"/>
                  </a:cubicBezTo>
                  <a:cubicBezTo>
                    <a:pt x="3440" y="23029"/>
                    <a:pt x="4437" y="22032"/>
                    <a:pt x="4437" y="20786"/>
                  </a:cubicBezTo>
                  <a:lnTo>
                    <a:pt x="4437" y="2194"/>
                  </a:lnTo>
                  <a:cubicBezTo>
                    <a:pt x="4437" y="998"/>
                    <a:pt x="3440" y="1"/>
                    <a:pt x="2193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  <p:sp>
          <p:nvSpPr>
            <p:cNvPr id="617" name="Google Shape;617;p16"/>
            <p:cNvSpPr/>
            <p:nvPr/>
          </p:nvSpPr>
          <p:spPr>
            <a:xfrm>
              <a:off x="3510300" y="2866200"/>
              <a:ext cx="576975" cy="112175"/>
            </a:xfrm>
            <a:custGeom>
              <a:avLst/>
              <a:gdLst/>
              <a:ahLst/>
              <a:cxnLst/>
              <a:rect l="l" t="t" r="r" b="b"/>
              <a:pathLst>
                <a:path w="23079" h="4487" extrusionOk="0">
                  <a:moveTo>
                    <a:pt x="2243" y="1"/>
                  </a:moveTo>
                  <a:cubicBezTo>
                    <a:pt x="997" y="1"/>
                    <a:pt x="0" y="998"/>
                    <a:pt x="0" y="2244"/>
                  </a:cubicBezTo>
                  <a:cubicBezTo>
                    <a:pt x="0" y="3440"/>
                    <a:pt x="997" y="4437"/>
                    <a:pt x="2243" y="4487"/>
                  </a:cubicBezTo>
                  <a:lnTo>
                    <a:pt x="20836" y="4487"/>
                  </a:lnTo>
                  <a:cubicBezTo>
                    <a:pt x="22082" y="4437"/>
                    <a:pt x="23079" y="3440"/>
                    <a:pt x="23079" y="2244"/>
                  </a:cubicBezTo>
                  <a:cubicBezTo>
                    <a:pt x="23029" y="998"/>
                    <a:pt x="22032" y="1"/>
                    <a:pt x="20836" y="1"/>
                  </a:cubicBezTo>
                  <a:close/>
                </a:path>
              </a:pathLst>
            </a:custGeom>
            <a:solidFill>
              <a:schemeClr val="lt1"/>
            </a:solidFill>
            <a:ln>
              <a:noFill/>
            </a:ln>
          </p:spPr>
          <p:txBody>
            <a:bodyPr spcFirstLastPara="1" wrap="square" lIns="91425" tIns="91425" rIns="91425" bIns="91425" anchor="ctr" anchorCtr="0">
              <a:noAutofit/>
            </a:bodyPr>
            <a:lstStyle/>
            <a:p>
              <a:pPr marL="0" lvl="0" indent="0" algn="l" rtl="0">
                <a:spcBef>
                  <a:spcPts val="0"/>
                </a:spcBef>
                <a:spcAft>
                  <a:spcPts val="0"/>
                </a:spcAft>
                <a:buNone/>
              </a:pPr>
              <a:endParaRPr/>
            </a:p>
          </p:txBody>
        </p:sp>
      </p:grpSp>
    </p:spTree>
    <p:extLst>
      <p:ext uri="{BB962C8B-B14F-4D97-AF65-F5344CB8AC3E}">
        <p14:creationId xmlns:p14="http://schemas.microsoft.com/office/powerpoint/2010/main" val="3328092851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10" Type="http://schemas.openxmlformats.org/officeDocument/2006/relationships/theme" Target="../theme/theme1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heme" Target="../theme/theme2.xml"/><Relationship Id="rId2" Type="http://schemas.openxmlformats.org/officeDocument/2006/relationships/slideLayout" Target="../slideLayouts/slideLayout11.xml"/><Relationship Id="rId1" Type="http://schemas.openxmlformats.org/officeDocument/2006/relationships/slideLayout" Target="../slideLayouts/slideLayout10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9.xml"/><Relationship Id="rId13" Type="http://schemas.openxmlformats.org/officeDocument/2006/relationships/theme" Target="../theme/theme3.xml"/><Relationship Id="rId3" Type="http://schemas.openxmlformats.org/officeDocument/2006/relationships/slideLayout" Target="../slideLayouts/slideLayout14.xml"/><Relationship Id="rId7" Type="http://schemas.openxmlformats.org/officeDocument/2006/relationships/slideLayout" Target="../slideLayouts/slideLayout18.xml"/><Relationship Id="rId12" Type="http://schemas.openxmlformats.org/officeDocument/2006/relationships/slideLayout" Target="../slideLayouts/slideLayout23.xml"/><Relationship Id="rId2" Type="http://schemas.openxmlformats.org/officeDocument/2006/relationships/slideLayout" Target="../slideLayouts/slideLayout13.xml"/><Relationship Id="rId1" Type="http://schemas.openxmlformats.org/officeDocument/2006/relationships/slideLayout" Target="../slideLayouts/slideLayout12.xml"/><Relationship Id="rId6" Type="http://schemas.openxmlformats.org/officeDocument/2006/relationships/slideLayout" Target="../slideLayouts/slideLayout17.xml"/><Relationship Id="rId11" Type="http://schemas.openxmlformats.org/officeDocument/2006/relationships/slideLayout" Target="../slideLayouts/slideLayout22.xml"/><Relationship Id="rId5" Type="http://schemas.openxmlformats.org/officeDocument/2006/relationships/slideLayout" Target="../slideLayouts/slideLayout16.xml"/><Relationship Id="rId10" Type="http://schemas.openxmlformats.org/officeDocument/2006/relationships/slideLayout" Target="../slideLayouts/slideLayout21.xml"/><Relationship Id="rId4" Type="http://schemas.openxmlformats.org/officeDocument/2006/relationships/slideLayout" Target="../slideLayouts/slideLayout15.xml"/><Relationship Id="rId9" Type="http://schemas.openxmlformats.org/officeDocument/2006/relationships/slideLayout" Target="../slideLayouts/slideLayout20.xml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1.xml"/><Relationship Id="rId13" Type="http://schemas.openxmlformats.org/officeDocument/2006/relationships/slideLayout" Target="../slideLayouts/slideLayout36.xml"/><Relationship Id="rId3" Type="http://schemas.openxmlformats.org/officeDocument/2006/relationships/slideLayout" Target="../slideLayouts/slideLayout26.xml"/><Relationship Id="rId7" Type="http://schemas.openxmlformats.org/officeDocument/2006/relationships/slideLayout" Target="../slideLayouts/slideLayout30.xml"/><Relationship Id="rId12" Type="http://schemas.openxmlformats.org/officeDocument/2006/relationships/slideLayout" Target="../slideLayouts/slideLayout35.xml"/><Relationship Id="rId2" Type="http://schemas.openxmlformats.org/officeDocument/2006/relationships/slideLayout" Target="../slideLayouts/slideLayout25.xml"/><Relationship Id="rId16" Type="http://schemas.openxmlformats.org/officeDocument/2006/relationships/theme" Target="../theme/theme4.xml"/><Relationship Id="rId1" Type="http://schemas.openxmlformats.org/officeDocument/2006/relationships/slideLayout" Target="../slideLayouts/slideLayout24.xml"/><Relationship Id="rId6" Type="http://schemas.openxmlformats.org/officeDocument/2006/relationships/slideLayout" Target="../slideLayouts/slideLayout29.xml"/><Relationship Id="rId11" Type="http://schemas.openxmlformats.org/officeDocument/2006/relationships/slideLayout" Target="../slideLayouts/slideLayout34.xml"/><Relationship Id="rId5" Type="http://schemas.openxmlformats.org/officeDocument/2006/relationships/slideLayout" Target="../slideLayouts/slideLayout28.xml"/><Relationship Id="rId15" Type="http://schemas.openxmlformats.org/officeDocument/2006/relationships/slideLayout" Target="../slideLayouts/slideLayout38.xml"/><Relationship Id="rId10" Type="http://schemas.openxmlformats.org/officeDocument/2006/relationships/slideLayout" Target="../slideLayouts/slideLayout33.xml"/><Relationship Id="rId4" Type="http://schemas.openxmlformats.org/officeDocument/2006/relationships/slideLayout" Target="../slideLayouts/slideLayout27.xml"/><Relationship Id="rId9" Type="http://schemas.openxmlformats.org/officeDocument/2006/relationships/slideLayout" Target="../slideLayouts/slideLayout32.xml"/><Relationship Id="rId14" Type="http://schemas.openxmlformats.org/officeDocument/2006/relationships/slideLayout" Target="../slideLayouts/slideLayout37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 name="simple-light-2">
    <p:bg>
      <p:bgPr>
        <a:solidFill>
          <a:schemeClr val="dk2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311700" y="445025"/>
            <a:ext cx="85206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2800"/>
              <a:buFont typeface="Source Sans Pro SemiBold"/>
              <a:buNone/>
              <a:defRPr sz="2800">
                <a:solidFill>
                  <a:srgbClr val="F3F3F3"/>
                </a:solidFill>
                <a:latin typeface="Source Sans Pro SemiBold"/>
                <a:ea typeface="Source Sans Pro SemiBold"/>
                <a:cs typeface="Source Sans Pro SemiBold"/>
                <a:sym typeface="Source Sans Pro SemiBold"/>
              </a:defRPr>
            </a:lvl1pPr>
            <a:lvl2pPr lvl="1"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2800"/>
              <a:buFont typeface="Source Sans Pro"/>
              <a:buNone/>
              <a:defRPr sz="2800" b="1">
                <a:solidFill>
                  <a:srgbClr val="F3F3F3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lvl="2"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2800"/>
              <a:buFont typeface="Source Sans Pro"/>
              <a:buNone/>
              <a:defRPr sz="2800" b="1">
                <a:solidFill>
                  <a:srgbClr val="F3F3F3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lvl="3"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2800"/>
              <a:buFont typeface="Source Sans Pro"/>
              <a:buNone/>
              <a:defRPr sz="2800" b="1">
                <a:solidFill>
                  <a:srgbClr val="F3F3F3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lvl="4"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2800"/>
              <a:buFont typeface="Source Sans Pro"/>
              <a:buNone/>
              <a:defRPr sz="2800" b="1">
                <a:solidFill>
                  <a:srgbClr val="F3F3F3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lvl="5"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2800"/>
              <a:buFont typeface="Source Sans Pro"/>
              <a:buNone/>
              <a:defRPr sz="2800" b="1">
                <a:solidFill>
                  <a:srgbClr val="F3F3F3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6pPr>
            <a:lvl7pPr lvl="6"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2800"/>
              <a:buFont typeface="Source Sans Pro"/>
              <a:buNone/>
              <a:defRPr sz="2800" b="1">
                <a:solidFill>
                  <a:srgbClr val="F3F3F3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7pPr>
            <a:lvl8pPr lvl="7"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2800"/>
              <a:buFont typeface="Source Sans Pro"/>
              <a:buNone/>
              <a:defRPr sz="2800" b="1">
                <a:solidFill>
                  <a:srgbClr val="F3F3F3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8pPr>
            <a:lvl9pPr lvl="8"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2800"/>
              <a:buFont typeface="Source Sans Pro"/>
              <a:buNone/>
              <a:defRPr sz="2800" b="1">
                <a:solidFill>
                  <a:srgbClr val="F3F3F3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311700" y="1152475"/>
            <a:ext cx="85206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0480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200"/>
              <a:buFont typeface="Barlow Light"/>
              <a:buChar char="●"/>
              <a:defRPr sz="1200">
                <a:solidFill>
                  <a:srgbClr val="F3F3F3"/>
                </a:solidFill>
                <a:latin typeface="Barlow Light"/>
                <a:ea typeface="Barlow Light"/>
                <a:cs typeface="Barlow Light"/>
                <a:sym typeface="Barlow Light"/>
              </a:defRPr>
            </a:lvl1pPr>
            <a:lvl2pPr marL="914400" lvl="1" indent="-3048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F3F3F3"/>
              </a:buClr>
              <a:buSzPts val="1200"/>
              <a:buFont typeface="Barlow Light"/>
              <a:buChar char="○"/>
              <a:defRPr sz="1200">
                <a:solidFill>
                  <a:srgbClr val="F3F3F3"/>
                </a:solidFill>
                <a:latin typeface="Barlow Light"/>
                <a:ea typeface="Barlow Light"/>
                <a:cs typeface="Barlow Light"/>
                <a:sym typeface="Barlow Light"/>
              </a:defRPr>
            </a:lvl2pPr>
            <a:lvl3pPr marL="1371600" lvl="2" indent="-3048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F3F3F3"/>
              </a:buClr>
              <a:buSzPts val="1200"/>
              <a:buFont typeface="Barlow Light"/>
              <a:buChar char="■"/>
              <a:defRPr sz="1200">
                <a:solidFill>
                  <a:srgbClr val="F3F3F3"/>
                </a:solidFill>
                <a:latin typeface="Barlow Light"/>
                <a:ea typeface="Barlow Light"/>
                <a:cs typeface="Barlow Light"/>
                <a:sym typeface="Barlow Light"/>
              </a:defRPr>
            </a:lvl3pPr>
            <a:lvl4pPr marL="1828800" lvl="3" indent="-3048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F3F3F3"/>
              </a:buClr>
              <a:buSzPts val="1200"/>
              <a:buFont typeface="Barlow Light"/>
              <a:buChar char="●"/>
              <a:defRPr sz="1200">
                <a:solidFill>
                  <a:srgbClr val="F3F3F3"/>
                </a:solidFill>
                <a:latin typeface="Barlow Light"/>
                <a:ea typeface="Barlow Light"/>
                <a:cs typeface="Barlow Light"/>
                <a:sym typeface="Barlow Light"/>
              </a:defRPr>
            </a:lvl4pPr>
            <a:lvl5pPr marL="2286000" lvl="4" indent="-3048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F3F3F3"/>
              </a:buClr>
              <a:buSzPts val="1200"/>
              <a:buFont typeface="Barlow Light"/>
              <a:buChar char="○"/>
              <a:defRPr sz="1200">
                <a:solidFill>
                  <a:srgbClr val="F3F3F3"/>
                </a:solidFill>
                <a:latin typeface="Barlow Light"/>
                <a:ea typeface="Barlow Light"/>
                <a:cs typeface="Barlow Light"/>
                <a:sym typeface="Barlow Light"/>
              </a:defRPr>
            </a:lvl5pPr>
            <a:lvl6pPr marL="2743200" lvl="5" indent="-3048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F3F3F3"/>
              </a:buClr>
              <a:buSzPts val="1200"/>
              <a:buFont typeface="Barlow Light"/>
              <a:buChar char="■"/>
              <a:defRPr sz="1200">
                <a:solidFill>
                  <a:srgbClr val="F3F3F3"/>
                </a:solidFill>
                <a:latin typeface="Barlow Light"/>
                <a:ea typeface="Barlow Light"/>
                <a:cs typeface="Barlow Light"/>
                <a:sym typeface="Barlow Light"/>
              </a:defRPr>
            </a:lvl6pPr>
            <a:lvl7pPr marL="3200400" lvl="6" indent="-3048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F3F3F3"/>
              </a:buClr>
              <a:buSzPts val="1200"/>
              <a:buFont typeface="Barlow Light"/>
              <a:buChar char="●"/>
              <a:defRPr sz="1200">
                <a:solidFill>
                  <a:srgbClr val="F3F3F3"/>
                </a:solidFill>
                <a:latin typeface="Barlow Light"/>
                <a:ea typeface="Barlow Light"/>
                <a:cs typeface="Barlow Light"/>
                <a:sym typeface="Barlow Light"/>
              </a:defRPr>
            </a:lvl7pPr>
            <a:lvl8pPr marL="3657600" lvl="7" indent="-304800">
              <a:lnSpc>
                <a:spcPct val="100000"/>
              </a:lnSpc>
              <a:spcBef>
                <a:spcPts val="1600"/>
              </a:spcBef>
              <a:spcAft>
                <a:spcPts val="0"/>
              </a:spcAft>
              <a:buClr>
                <a:srgbClr val="F3F3F3"/>
              </a:buClr>
              <a:buSzPts val="1200"/>
              <a:buFont typeface="Barlow Light"/>
              <a:buChar char="○"/>
              <a:defRPr sz="1200">
                <a:solidFill>
                  <a:srgbClr val="F3F3F3"/>
                </a:solidFill>
                <a:latin typeface="Barlow Light"/>
                <a:ea typeface="Barlow Light"/>
                <a:cs typeface="Barlow Light"/>
                <a:sym typeface="Barlow Light"/>
              </a:defRPr>
            </a:lvl8pPr>
            <a:lvl9pPr marL="4114800" lvl="8" indent="-304800">
              <a:lnSpc>
                <a:spcPct val="100000"/>
              </a:lnSpc>
              <a:spcBef>
                <a:spcPts val="1600"/>
              </a:spcBef>
              <a:spcAft>
                <a:spcPts val="1600"/>
              </a:spcAft>
              <a:buClr>
                <a:srgbClr val="F3F3F3"/>
              </a:buClr>
              <a:buSzPts val="1200"/>
              <a:buFont typeface="Barlow Light"/>
              <a:buChar char="■"/>
              <a:defRPr sz="1200">
                <a:solidFill>
                  <a:srgbClr val="F3F3F3"/>
                </a:solidFill>
                <a:latin typeface="Barlow Light"/>
                <a:ea typeface="Barlow Light"/>
                <a:cs typeface="Barlow Light"/>
                <a:sym typeface="Barlow Light"/>
              </a:defRPr>
            </a:lvl9pPr>
          </a:lstStyle>
          <a:p>
            <a:endParaRPr/>
          </a:p>
        </p:txBody>
      </p:sp>
    </p:spTree>
  </p:cSld>
  <p:clrMap bg1="lt1" tx1="dk1" bg2="dk2" tx2="lt2" accent1="accent1" accent2="accent2" accent3="accent3" accent4="accent4" accent5="accent5" accent6="accent6" hlink="hlink" folHlink="folHlink"/>
  <p:sldLayoutIdLst>
    <p:sldLayoutId id="2147483650" r:id="rId1"/>
    <p:sldLayoutId id="2147483658" r:id="rId2"/>
    <p:sldLayoutId id="2147483661" r:id="rId3"/>
    <p:sldLayoutId id="2147483667" r:id="rId4"/>
    <p:sldLayoutId id="2147483675" r:id="rId5"/>
    <p:sldLayoutId id="2147483682" r:id="rId6"/>
    <p:sldLayoutId id="2147483696" r:id="rId7"/>
    <p:sldLayoutId id="2147483697" r:id="rId8"/>
    <p:sldLayoutId id="2147483699" r:id="rId9"/>
  </p:sldLayoutIdLst>
  <p:hf sldNum="0"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7185050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0" r:id="rId1"/>
    <p:sldLayoutId id="2147483681" r:id="rId2"/>
  </p:sldLayoutIdLst>
  <p:txStyles>
    <p:titleStyle>
      <a:lvl1pPr algn="l" defTabSz="685817" rtl="0" eaLnBrk="1" latinLnBrk="0" hangingPunct="1">
        <a:lnSpc>
          <a:spcPct val="90000"/>
        </a:lnSpc>
        <a:spcBef>
          <a:spcPct val="0"/>
        </a:spcBef>
        <a:buNone/>
        <a:defRPr sz="33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171454" indent="-171454" algn="l" defTabSz="685817" rtl="0" eaLnBrk="1" latinLnBrk="0" hangingPunct="1">
        <a:lnSpc>
          <a:spcPct val="90000"/>
        </a:lnSpc>
        <a:spcBef>
          <a:spcPts val="750"/>
        </a:spcBef>
        <a:buFont typeface="Arial" panose="020B0604020202020204" pitchFamily="34" charset="0"/>
        <a:buChar char="•"/>
        <a:defRPr sz="2100" kern="1200">
          <a:solidFill>
            <a:schemeClr val="tx1"/>
          </a:solidFill>
          <a:latin typeface="+mn-lt"/>
          <a:ea typeface="+mn-ea"/>
          <a:cs typeface="+mn-cs"/>
        </a:defRPr>
      </a:lvl1pPr>
      <a:lvl2pPr marL="514364" indent="-171454" algn="l" defTabSz="68581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857271" indent="-171454" algn="l" defTabSz="68581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+mn-lt"/>
          <a:ea typeface="+mn-ea"/>
          <a:cs typeface="+mn-cs"/>
        </a:defRPr>
      </a:lvl3pPr>
      <a:lvl4pPr marL="1200180" indent="-171454" algn="l" defTabSz="68581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543089" indent="-171454" algn="l" defTabSz="68581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885997" indent="-171454" algn="l" defTabSz="68581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228906" indent="-171454" algn="l" defTabSz="68581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571814" indent="-171454" algn="l" defTabSz="68581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914724" indent="-171454" algn="l" defTabSz="685817" rtl="0" eaLnBrk="1" latinLnBrk="0" hangingPunct="1">
        <a:lnSpc>
          <a:spcPct val="90000"/>
        </a:lnSpc>
        <a:spcBef>
          <a:spcPts val="375"/>
        </a:spcBef>
        <a:buFont typeface="Arial" panose="020B0604020202020204" pitchFamily="34" charset="0"/>
        <a:buChar char="•"/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9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17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26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34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44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51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60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69" algn="l" defTabSz="685817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6"/>
          <p:cNvSpPr/>
          <p:nvPr/>
        </p:nvSpPr>
        <p:spPr>
          <a:xfrm>
            <a:off x="176022" y="178308"/>
            <a:ext cx="8791956" cy="4786884"/>
          </a:xfrm>
          <a:prstGeom prst="rect">
            <a:avLst/>
          </a:prstGeom>
          <a:solidFill>
            <a:schemeClr val="bg2"/>
          </a:solidFill>
          <a:ln w="6350" cap="flat" cmpd="sng" algn="ctr">
            <a:noFill/>
            <a:prstDash val="solid"/>
          </a:ln>
          <a:effectLst>
            <a:softEdge rad="0"/>
          </a:effectLst>
        </p:spPr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800100" y="481946"/>
            <a:ext cx="7543800" cy="1028700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800100" y="1577340"/>
            <a:ext cx="7543800" cy="2948940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205740" y="4730754"/>
            <a:ext cx="2057400" cy="20574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7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CBC48EC7-AF6A-48D3-8284-14BACBEBDD84}" type="datetimeFigureOut">
              <a:rPr lang="en-US" dirty="0"/>
              <a:t>9/7/2021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617470" y="4730754"/>
            <a:ext cx="3909060" cy="20574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ctr">
              <a:defRPr sz="7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7852410" y="4730754"/>
            <a:ext cx="1097280" cy="20574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75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4FAB73BC-B049-4115-A692-8D63A059BFB8}" type="slidenum">
              <a:rPr lang="en-US" dirty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5882948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84" r:id="rId1"/>
    <p:sldLayoutId id="2147483685" r:id="rId2"/>
    <p:sldLayoutId id="2147483686" r:id="rId3"/>
    <p:sldLayoutId id="2147483687" r:id="rId4"/>
    <p:sldLayoutId id="2147483688" r:id="rId5"/>
    <p:sldLayoutId id="2147483689" r:id="rId6"/>
    <p:sldLayoutId id="2147483690" r:id="rId7"/>
    <p:sldLayoutId id="2147483691" r:id="rId8"/>
    <p:sldLayoutId id="2147483692" r:id="rId9"/>
    <p:sldLayoutId id="2147483693" r:id="rId10"/>
    <p:sldLayoutId id="2147483694" r:id="rId11"/>
    <p:sldLayoutId id="2147483695" r:id="rId12"/>
  </p:sldLayoutIdLst>
  <p:hf sldNum="0" hdr="0" ftr="0" dt="0"/>
  <p:txStyles>
    <p:titleStyle>
      <a:lvl1pPr algn="l" defTabSz="685800" rtl="0" eaLnBrk="1" latinLnBrk="0" hangingPunct="1">
        <a:lnSpc>
          <a:spcPct val="90000"/>
        </a:lnSpc>
        <a:spcBef>
          <a:spcPct val="0"/>
        </a:spcBef>
        <a:buNone/>
        <a:defRPr lang="en-US" sz="3600" kern="1200" cap="none" spc="0" baseline="0" dirty="0">
          <a:solidFill>
            <a:schemeClr val="tx1">
              <a:lumMod val="85000"/>
              <a:lumOff val="15000"/>
            </a:schemeClr>
          </a:solidFill>
          <a:effectLst/>
          <a:latin typeface="+mj-lt"/>
          <a:ea typeface="+mn-ea"/>
          <a:cs typeface="+mn-cs"/>
        </a:defRPr>
      </a:lvl1pPr>
    </p:titleStyle>
    <p:bodyStyle>
      <a:lvl1pPr marL="137160" indent="-137160" algn="l" defTabSz="685800" rtl="0" eaLnBrk="1" latinLnBrk="0" hangingPunct="1">
        <a:lnSpc>
          <a:spcPct val="100000"/>
        </a:lnSpc>
        <a:spcBef>
          <a:spcPts val="675"/>
        </a:spcBef>
        <a:spcAft>
          <a:spcPts val="0"/>
        </a:spcAft>
        <a:buClr>
          <a:schemeClr val="tx1">
            <a:lumMod val="85000"/>
            <a:lumOff val="15000"/>
          </a:schemeClr>
        </a:buClr>
        <a:buFont typeface="Garamond" pitchFamily="18" charset="0"/>
        <a:buChar char="◦"/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indent="-137160" algn="l" defTabSz="685800" rtl="0" eaLnBrk="1" latinLnBrk="0" hangingPunct="1">
        <a:lnSpc>
          <a:spcPct val="100000"/>
        </a:lnSpc>
        <a:spcBef>
          <a:spcPts val="375"/>
        </a:spcBef>
        <a:buClr>
          <a:schemeClr val="tx1">
            <a:lumMod val="85000"/>
            <a:lumOff val="15000"/>
          </a:schemeClr>
        </a:buClr>
        <a:buFont typeface="Garamond" pitchFamily="18" charset="0"/>
        <a:buChar char="◦"/>
        <a:defRPr sz="1200" kern="1200">
          <a:solidFill>
            <a:schemeClr val="tx1"/>
          </a:solidFill>
          <a:latin typeface="+mn-lt"/>
          <a:ea typeface="+mn-ea"/>
          <a:cs typeface="+mn-cs"/>
        </a:defRPr>
      </a:lvl2pPr>
      <a:lvl3pPr marL="548640" indent="-137160" algn="l" defTabSz="685800" rtl="0" eaLnBrk="1" latinLnBrk="0" hangingPunct="1">
        <a:lnSpc>
          <a:spcPct val="100000"/>
        </a:lnSpc>
        <a:spcBef>
          <a:spcPts val="375"/>
        </a:spcBef>
        <a:buClr>
          <a:schemeClr val="tx1">
            <a:lumMod val="85000"/>
            <a:lumOff val="15000"/>
          </a:schemeClr>
        </a:buClr>
        <a:buFont typeface="Garamond" pitchFamily="18" charset="0"/>
        <a:buChar char="◦"/>
        <a:defRPr sz="1050" kern="1200">
          <a:solidFill>
            <a:schemeClr val="tx1"/>
          </a:solidFill>
          <a:latin typeface="+mn-lt"/>
          <a:ea typeface="+mn-ea"/>
          <a:cs typeface="+mn-cs"/>
        </a:defRPr>
      </a:lvl3pPr>
      <a:lvl4pPr marL="754380" indent="-137160" algn="l" defTabSz="685800" rtl="0" eaLnBrk="1" latinLnBrk="0" hangingPunct="1">
        <a:lnSpc>
          <a:spcPct val="100000"/>
        </a:lnSpc>
        <a:spcBef>
          <a:spcPts val="375"/>
        </a:spcBef>
        <a:buClr>
          <a:schemeClr val="tx1">
            <a:lumMod val="85000"/>
            <a:lumOff val="15000"/>
          </a:schemeClr>
        </a:buClr>
        <a:buFont typeface="Garamond" pitchFamily="18" charset="0"/>
        <a:buChar char="◦"/>
        <a:defRPr sz="1050" kern="1200">
          <a:solidFill>
            <a:schemeClr val="tx1"/>
          </a:solidFill>
          <a:latin typeface="+mn-lt"/>
          <a:ea typeface="+mn-ea"/>
          <a:cs typeface="+mn-cs"/>
        </a:defRPr>
      </a:lvl4pPr>
      <a:lvl5pPr marL="960120" indent="-137160" algn="l" defTabSz="685800" rtl="0" eaLnBrk="1" latinLnBrk="0" hangingPunct="1">
        <a:lnSpc>
          <a:spcPct val="100000"/>
        </a:lnSpc>
        <a:spcBef>
          <a:spcPts val="375"/>
        </a:spcBef>
        <a:buClr>
          <a:schemeClr val="tx1">
            <a:lumMod val="85000"/>
            <a:lumOff val="15000"/>
          </a:schemeClr>
        </a:buClr>
        <a:buFont typeface="Garamond" pitchFamily="18" charset="0"/>
        <a:buChar char="◦"/>
        <a:defRPr sz="1050" kern="1200">
          <a:solidFill>
            <a:schemeClr val="tx1"/>
          </a:solidFill>
          <a:latin typeface="+mn-lt"/>
          <a:ea typeface="+mn-ea"/>
          <a:cs typeface="+mn-cs"/>
        </a:defRPr>
      </a:lvl5pPr>
      <a:lvl6pPr marL="1200000" indent="-171450" algn="l" defTabSz="685800" rtl="0" eaLnBrk="1" latinLnBrk="0" hangingPunct="1">
        <a:lnSpc>
          <a:spcPct val="100000"/>
        </a:lnSpc>
        <a:spcBef>
          <a:spcPts val="375"/>
        </a:spcBef>
        <a:buClr>
          <a:schemeClr val="tx1">
            <a:lumMod val="85000"/>
            <a:lumOff val="15000"/>
          </a:schemeClr>
        </a:buClr>
        <a:buFont typeface="Garamond" pitchFamily="18" charset="0"/>
        <a:buChar char="◦"/>
        <a:defRPr sz="1050" kern="1200">
          <a:solidFill>
            <a:schemeClr val="tx1"/>
          </a:solidFill>
          <a:latin typeface="+mn-lt"/>
          <a:ea typeface="+mn-ea"/>
          <a:cs typeface="+mn-cs"/>
        </a:defRPr>
      </a:lvl6pPr>
      <a:lvl7pPr marL="1425000" indent="-171450" algn="l" defTabSz="685800" rtl="0" eaLnBrk="1" latinLnBrk="0" hangingPunct="1">
        <a:lnSpc>
          <a:spcPct val="100000"/>
        </a:lnSpc>
        <a:spcBef>
          <a:spcPts val="375"/>
        </a:spcBef>
        <a:buClr>
          <a:schemeClr val="tx1">
            <a:lumMod val="85000"/>
            <a:lumOff val="15000"/>
          </a:schemeClr>
        </a:buClr>
        <a:buFont typeface="Garamond" pitchFamily="18" charset="0"/>
        <a:buChar char="◦"/>
        <a:defRPr sz="1050" kern="1200">
          <a:solidFill>
            <a:schemeClr val="tx1"/>
          </a:solidFill>
          <a:latin typeface="+mn-lt"/>
          <a:ea typeface="+mn-ea"/>
          <a:cs typeface="+mn-cs"/>
        </a:defRPr>
      </a:lvl7pPr>
      <a:lvl8pPr marL="1650000" indent="-171450" algn="l" defTabSz="685800" rtl="0" eaLnBrk="1" latinLnBrk="0" hangingPunct="1">
        <a:lnSpc>
          <a:spcPct val="100000"/>
        </a:lnSpc>
        <a:spcBef>
          <a:spcPts val="375"/>
        </a:spcBef>
        <a:buClr>
          <a:schemeClr val="tx1">
            <a:lumMod val="85000"/>
            <a:lumOff val="15000"/>
          </a:schemeClr>
        </a:buClr>
        <a:buFont typeface="Garamond" pitchFamily="18" charset="0"/>
        <a:buChar char="◦"/>
        <a:defRPr sz="1050" kern="1200">
          <a:solidFill>
            <a:schemeClr val="tx1"/>
          </a:solidFill>
          <a:latin typeface="+mn-lt"/>
          <a:ea typeface="+mn-ea"/>
          <a:cs typeface="+mn-cs"/>
        </a:defRPr>
      </a:lvl8pPr>
      <a:lvl9pPr marL="1875000" indent="-171450" algn="l" defTabSz="685800" rtl="0" eaLnBrk="1" latinLnBrk="0" hangingPunct="1">
        <a:lnSpc>
          <a:spcPct val="100000"/>
        </a:lnSpc>
        <a:spcBef>
          <a:spcPts val="375"/>
        </a:spcBef>
        <a:buClr>
          <a:schemeClr val="tx1">
            <a:lumMod val="85000"/>
            <a:lumOff val="15000"/>
          </a:schemeClr>
        </a:buClr>
        <a:buFont typeface="Garamond" pitchFamily="18" charset="0"/>
        <a:buChar char="◦"/>
        <a:defRPr sz="105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1pPr>
      <a:lvl2pPr marL="3429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2pPr>
      <a:lvl3pPr marL="6858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3pPr>
      <a:lvl4pPr marL="10287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4pPr>
      <a:lvl5pPr marL="13716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5pPr>
      <a:lvl6pPr marL="17145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6pPr>
      <a:lvl7pPr marL="20574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7pPr>
      <a:lvl8pPr marL="24003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8pPr>
      <a:lvl9pPr marL="2743200" algn="l" defTabSz="685800" rtl="0" eaLnBrk="1" latinLnBrk="0" hangingPunct="1">
        <a:defRPr sz="135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1"/>
        </a:solidFill>
        <a:effectLst/>
      </p:bgPr>
    </p:bg>
    <p:spTree>
      <p:nvGrpSpPr>
        <p:cNvPr id="1" name="Shape 5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Google Shape;6;p1"/>
          <p:cNvSpPr txBox="1">
            <a:spLocks noGrp="1"/>
          </p:cNvSpPr>
          <p:nvPr>
            <p:ph type="title"/>
          </p:nvPr>
        </p:nvSpPr>
        <p:spPr>
          <a:xfrm>
            <a:off x="713225" y="477800"/>
            <a:ext cx="7711200" cy="5727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lvl="0" rtl="0"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2800"/>
              <a:buFont typeface="Archivo Black"/>
              <a:buNone/>
              <a:defRPr sz="2800">
                <a:solidFill>
                  <a:schemeClr val="lt1"/>
                </a:solidFill>
                <a:latin typeface="Archivo Black"/>
                <a:ea typeface="Archivo Black"/>
                <a:cs typeface="Archivo Black"/>
                <a:sym typeface="Archivo Black"/>
              </a:defRPr>
            </a:lvl1pPr>
            <a:lvl2pPr lvl="1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Bebas Neue"/>
              <a:buNone/>
              <a:defRPr sz="2800">
                <a:solidFill>
                  <a:schemeClr val="accent1"/>
                </a:solidFill>
                <a:latin typeface="Bebas Neue"/>
                <a:ea typeface="Bebas Neue"/>
                <a:cs typeface="Bebas Neue"/>
                <a:sym typeface="Bebas Neue"/>
              </a:defRPr>
            </a:lvl2pPr>
            <a:lvl3pPr lvl="2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Bebas Neue"/>
              <a:buNone/>
              <a:defRPr sz="2800">
                <a:solidFill>
                  <a:schemeClr val="accent1"/>
                </a:solidFill>
                <a:latin typeface="Bebas Neue"/>
                <a:ea typeface="Bebas Neue"/>
                <a:cs typeface="Bebas Neue"/>
                <a:sym typeface="Bebas Neue"/>
              </a:defRPr>
            </a:lvl3pPr>
            <a:lvl4pPr lvl="3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Bebas Neue"/>
              <a:buNone/>
              <a:defRPr sz="2800">
                <a:solidFill>
                  <a:schemeClr val="accent1"/>
                </a:solidFill>
                <a:latin typeface="Bebas Neue"/>
                <a:ea typeface="Bebas Neue"/>
                <a:cs typeface="Bebas Neue"/>
                <a:sym typeface="Bebas Neue"/>
              </a:defRPr>
            </a:lvl4pPr>
            <a:lvl5pPr lvl="4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Bebas Neue"/>
              <a:buNone/>
              <a:defRPr sz="2800">
                <a:solidFill>
                  <a:schemeClr val="accent1"/>
                </a:solidFill>
                <a:latin typeface="Bebas Neue"/>
                <a:ea typeface="Bebas Neue"/>
                <a:cs typeface="Bebas Neue"/>
                <a:sym typeface="Bebas Neue"/>
              </a:defRPr>
            </a:lvl5pPr>
            <a:lvl6pPr lvl="5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Bebas Neue"/>
              <a:buNone/>
              <a:defRPr sz="2800">
                <a:solidFill>
                  <a:schemeClr val="accent1"/>
                </a:solidFill>
                <a:latin typeface="Bebas Neue"/>
                <a:ea typeface="Bebas Neue"/>
                <a:cs typeface="Bebas Neue"/>
                <a:sym typeface="Bebas Neue"/>
              </a:defRPr>
            </a:lvl6pPr>
            <a:lvl7pPr lvl="6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Bebas Neue"/>
              <a:buNone/>
              <a:defRPr sz="2800">
                <a:solidFill>
                  <a:schemeClr val="accent1"/>
                </a:solidFill>
                <a:latin typeface="Bebas Neue"/>
                <a:ea typeface="Bebas Neue"/>
                <a:cs typeface="Bebas Neue"/>
                <a:sym typeface="Bebas Neue"/>
              </a:defRPr>
            </a:lvl7pPr>
            <a:lvl8pPr lvl="7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Bebas Neue"/>
              <a:buNone/>
              <a:defRPr sz="2800">
                <a:solidFill>
                  <a:schemeClr val="accent1"/>
                </a:solidFill>
                <a:latin typeface="Bebas Neue"/>
                <a:ea typeface="Bebas Neue"/>
                <a:cs typeface="Bebas Neue"/>
                <a:sym typeface="Bebas Neue"/>
              </a:defRPr>
            </a:lvl8pPr>
            <a:lvl9pPr lvl="8" rtl="0">
              <a:spcBef>
                <a:spcPts val="0"/>
              </a:spcBef>
              <a:spcAft>
                <a:spcPts val="0"/>
              </a:spcAft>
              <a:buClr>
                <a:schemeClr val="accent1"/>
              </a:buClr>
              <a:buSzPts val="2800"/>
              <a:buFont typeface="Bebas Neue"/>
              <a:buNone/>
              <a:defRPr sz="2800">
                <a:solidFill>
                  <a:schemeClr val="accent1"/>
                </a:solidFill>
                <a:latin typeface="Bebas Neue"/>
                <a:ea typeface="Bebas Neue"/>
                <a:cs typeface="Bebas Neue"/>
                <a:sym typeface="Bebas Neue"/>
              </a:defRPr>
            </a:lvl9pPr>
          </a:lstStyle>
          <a:p>
            <a:endParaRPr/>
          </a:p>
        </p:txBody>
      </p:sp>
      <p:sp>
        <p:nvSpPr>
          <p:cNvPr id="7" name="Google Shape;7;p1"/>
          <p:cNvSpPr txBox="1">
            <a:spLocks noGrp="1"/>
          </p:cNvSpPr>
          <p:nvPr>
            <p:ph type="body" idx="1"/>
          </p:nvPr>
        </p:nvSpPr>
        <p:spPr>
          <a:xfrm>
            <a:off x="713225" y="1152475"/>
            <a:ext cx="8119200" cy="3416400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t" anchorCtr="0">
            <a:noAutofit/>
          </a:bodyPr>
          <a:lstStyle>
            <a:lvl1pPr marL="457200" lvl="0" indent="-330200">
              <a:lnSpc>
                <a:spcPct val="115000"/>
              </a:lnSpc>
              <a:spcBef>
                <a:spcPts val="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Montserrat"/>
              <a:buChar char="●"/>
              <a:defRPr sz="16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1pPr>
            <a:lvl2pPr marL="914400" lvl="1" indent="-3302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Montserrat"/>
              <a:buChar char="○"/>
              <a:defRPr sz="16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2pPr>
            <a:lvl3pPr marL="1371600" lvl="2" indent="-3302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Montserrat"/>
              <a:buChar char="■"/>
              <a:defRPr sz="16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3pPr>
            <a:lvl4pPr marL="1828800" lvl="3" indent="-3302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Montserrat"/>
              <a:buChar char="●"/>
              <a:defRPr sz="16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4pPr>
            <a:lvl5pPr marL="2286000" lvl="4" indent="-3302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Montserrat"/>
              <a:buChar char="○"/>
              <a:defRPr sz="16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5pPr>
            <a:lvl6pPr marL="2743200" lvl="5" indent="-3302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Montserrat"/>
              <a:buChar char="■"/>
              <a:defRPr sz="16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6pPr>
            <a:lvl7pPr marL="3200400" lvl="6" indent="-3302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Montserrat"/>
              <a:buChar char="●"/>
              <a:defRPr sz="16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7pPr>
            <a:lvl8pPr marL="3657600" lvl="7" indent="-330200">
              <a:lnSpc>
                <a:spcPct val="115000"/>
              </a:lnSpc>
              <a:spcBef>
                <a:spcPts val="1600"/>
              </a:spcBef>
              <a:spcAft>
                <a:spcPts val="0"/>
              </a:spcAft>
              <a:buClr>
                <a:schemeClr val="lt1"/>
              </a:buClr>
              <a:buSzPts val="1600"/>
              <a:buFont typeface="Montserrat"/>
              <a:buChar char="○"/>
              <a:defRPr sz="16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8pPr>
            <a:lvl9pPr marL="4114800" lvl="8" indent="-330200">
              <a:lnSpc>
                <a:spcPct val="115000"/>
              </a:lnSpc>
              <a:spcBef>
                <a:spcPts val="1600"/>
              </a:spcBef>
              <a:spcAft>
                <a:spcPts val="1600"/>
              </a:spcAft>
              <a:buClr>
                <a:schemeClr val="lt1"/>
              </a:buClr>
              <a:buSzPts val="1600"/>
              <a:buFont typeface="Montserrat"/>
              <a:buChar char="■"/>
              <a:defRPr sz="1600">
                <a:solidFill>
                  <a:schemeClr val="lt1"/>
                </a:solidFill>
                <a:latin typeface="Montserrat"/>
                <a:ea typeface="Montserrat"/>
                <a:cs typeface="Montserrat"/>
                <a:sym typeface="Montserrat"/>
              </a:defRPr>
            </a:lvl9pPr>
          </a:lstStyle>
          <a:p>
            <a:endParaRPr/>
          </a:p>
        </p:txBody>
      </p:sp>
    </p:spTree>
    <p:extLst>
      <p:ext uri="{BB962C8B-B14F-4D97-AF65-F5344CB8AC3E}">
        <p14:creationId xmlns:p14="http://schemas.microsoft.com/office/powerpoint/2010/main" val="3870584953"/>
      </p:ext>
    </p:extLst>
  </p:cSld>
  <p:clrMap bg1="lt1" tx1="dk1" bg2="dk2" tx2="lt2" accent1="accent1" accent2="accent2" accent3="accent3" accent4="accent4" accent5="accent5" accent6="accent6" hlink="hlink" folHlink="folHlink"/>
  <p:sldLayoutIdLst>
    <p:sldLayoutId id="2147483701" r:id="rId1"/>
    <p:sldLayoutId id="2147483702" r:id="rId2"/>
    <p:sldLayoutId id="2147483703" r:id="rId3"/>
    <p:sldLayoutId id="2147483704" r:id="rId4"/>
    <p:sldLayoutId id="2147483705" r:id="rId5"/>
    <p:sldLayoutId id="2147483706" r:id="rId6"/>
    <p:sldLayoutId id="2147483707" r:id="rId7"/>
    <p:sldLayoutId id="2147483708" r:id="rId8"/>
    <p:sldLayoutId id="2147483709" r:id="rId9"/>
    <p:sldLayoutId id="2147483710" r:id="rId10"/>
    <p:sldLayoutId id="2147483711" r:id="rId11"/>
    <p:sldLayoutId id="2147483712" r:id="rId12"/>
    <p:sldLayoutId id="2147483713" r:id="rId13"/>
    <p:sldLayoutId id="2147483714" r:id="rId14"/>
    <p:sldLayoutId id="2147483715" r:id="rId15"/>
  </p:sldLayoutIdLst>
  <p:hf hdr="0" ftr="0" dt="0"/>
  <p:txStyles>
    <p:title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titleStyle>
    <p:body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bodyStyle>
    <p:otherStyle>
      <a:defPPr marR="0" lvl="0" algn="l" rtl="0">
        <a:lnSpc>
          <a:spcPct val="100000"/>
        </a:lnSpc>
        <a:spcBef>
          <a:spcPts val="0"/>
        </a:spcBef>
        <a:spcAft>
          <a:spcPts val="0"/>
        </a:spcAft>
      </a:defPPr>
      <a:lvl1pPr marR="0" lvl="0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1pPr>
      <a:lvl2pPr marR="0" lvl="1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2pPr>
      <a:lvl3pPr marR="0" lvl="2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3pPr>
      <a:lvl4pPr marR="0" lvl="3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4pPr>
      <a:lvl5pPr marR="0" lvl="4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5pPr>
      <a:lvl6pPr marR="0" lvl="5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6pPr>
      <a:lvl7pPr marR="0" lvl="6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7pPr>
      <a:lvl8pPr marR="0" lvl="7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8pPr>
      <a:lvl9pPr marR="0" lvl="8" algn="l" rtl="0">
        <a:lnSpc>
          <a:spcPct val="100000"/>
        </a:lnSpc>
        <a:spcBef>
          <a:spcPts val="0"/>
        </a:spcBef>
        <a:spcAft>
          <a:spcPts val="0"/>
        </a:spcAft>
        <a:buClr>
          <a:srgbClr val="000000"/>
        </a:buClr>
        <a:buFont typeface="Arial"/>
        <a:defRPr sz="1400" b="0" i="0" u="none" strike="noStrike" cap="none">
          <a:solidFill>
            <a:srgbClr val="000000"/>
          </a:solidFill>
          <a:latin typeface="Arial"/>
          <a:ea typeface="Arial"/>
          <a:cs typeface="Arial"/>
          <a:sym typeface="Arial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8" Type="http://schemas.microsoft.com/office/2007/relationships/hdphoto" Target="../media/hdphoto1.wdp"/><Relationship Id="rId3" Type="http://schemas.openxmlformats.org/officeDocument/2006/relationships/image" Target="../media/image9.jpg"/><Relationship Id="rId7" Type="http://schemas.openxmlformats.org/officeDocument/2006/relationships/image" Target="../media/image12.pn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1.png"/><Relationship Id="rId5" Type="http://schemas.openxmlformats.org/officeDocument/2006/relationships/image" Target="../media/image10.png"/><Relationship Id="rId4" Type="http://schemas.openxmlformats.org/officeDocument/2006/relationships/hyperlink" Target="https://www.flickr.com/photos/dzaia-bs/12523215843/" TargetMode="External"/></Relationships>
</file>

<file path=ppt/slides/_rels/slide10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_rels/slide1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7.xml"/><Relationship Id="rId1" Type="http://schemas.openxmlformats.org/officeDocument/2006/relationships/slideLayout" Target="../slideLayouts/slideLayout25.xml"/><Relationship Id="rId5" Type="http://schemas.microsoft.com/office/2007/relationships/hdphoto" Target="../media/hdphoto1.wdp"/><Relationship Id="rId4" Type="http://schemas.openxmlformats.org/officeDocument/2006/relationships/image" Target="../media/image12.png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fif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3.xml"/><Relationship Id="rId5" Type="http://schemas.openxmlformats.org/officeDocument/2006/relationships/image" Target="../media/image15.png"/><Relationship Id="rId4" Type="http://schemas.openxmlformats.org/officeDocument/2006/relationships/image" Target="../media/image14.png"/></Relationships>
</file>

<file path=ppt/slides/_rels/slide2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8.xml"/><Relationship Id="rId1" Type="http://schemas.openxmlformats.org/officeDocument/2006/relationships/slideLayout" Target="../slideLayouts/slideLayout25.xml"/><Relationship Id="rId5" Type="http://schemas.microsoft.com/office/2007/relationships/hdphoto" Target="../media/hdphoto1.wdp"/><Relationship Id="rId4" Type="http://schemas.openxmlformats.org/officeDocument/2006/relationships/image" Target="../media/image12.png"/></Relationships>
</file>

<file path=ppt/slides/_rels/slide2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9.xml"/><Relationship Id="rId1" Type="http://schemas.openxmlformats.org/officeDocument/2006/relationships/slideLayout" Target="../slideLayouts/slideLayout25.xml"/><Relationship Id="rId5" Type="http://schemas.microsoft.com/office/2007/relationships/hdphoto" Target="../media/hdphoto1.wdp"/><Relationship Id="rId4" Type="http://schemas.openxmlformats.org/officeDocument/2006/relationships/image" Target="../media/image12.png"/></Relationships>
</file>

<file path=ppt/slides/_rels/slide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0.xml"/><Relationship Id="rId1" Type="http://schemas.openxmlformats.org/officeDocument/2006/relationships/slideLayout" Target="../slideLayouts/slideLayout8.xml"/><Relationship Id="rId5" Type="http://schemas.microsoft.com/office/2007/relationships/hdphoto" Target="../media/hdphoto1.wdp"/><Relationship Id="rId4" Type="http://schemas.openxmlformats.org/officeDocument/2006/relationships/image" Target="../media/image12.png"/></Relationships>
</file>

<file path=ppt/slides/_rels/slide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1.xml"/><Relationship Id="rId1" Type="http://schemas.openxmlformats.org/officeDocument/2006/relationships/slideLayout" Target="../slideLayouts/slideLayout8.xml"/><Relationship Id="rId5" Type="http://schemas.microsoft.com/office/2007/relationships/hdphoto" Target="../media/hdphoto1.wdp"/><Relationship Id="rId4" Type="http://schemas.openxmlformats.org/officeDocument/2006/relationships/image" Target="../media/image12.png"/></Relationships>
</file>

<file path=ppt/slides/_rels/slide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2.xml"/><Relationship Id="rId1" Type="http://schemas.openxmlformats.org/officeDocument/2006/relationships/slideLayout" Target="../slideLayouts/slideLayout8.xml"/><Relationship Id="rId5" Type="http://schemas.microsoft.com/office/2007/relationships/hdphoto" Target="../media/hdphoto1.wdp"/><Relationship Id="rId4" Type="http://schemas.openxmlformats.org/officeDocument/2006/relationships/image" Target="../media/image12.png"/></Relationships>
</file>

<file path=ppt/slides/_rels/slide25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3.xml"/><Relationship Id="rId1" Type="http://schemas.openxmlformats.org/officeDocument/2006/relationships/slideLayout" Target="../slideLayouts/slideLayout8.xml"/><Relationship Id="rId5" Type="http://schemas.microsoft.com/office/2007/relationships/hdphoto" Target="../media/hdphoto1.wdp"/><Relationship Id="rId4" Type="http://schemas.openxmlformats.org/officeDocument/2006/relationships/image" Target="../media/image12.png"/></Relationships>
</file>

<file path=ppt/slides/_rels/slide2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notesSlide" Target="../notesSlides/notesSlide14.xml"/><Relationship Id="rId1" Type="http://schemas.openxmlformats.org/officeDocument/2006/relationships/slideLayout" Target="../slideLayouts/slideLayout9.xml"/><Relationship Id="rId5" Type="http://schemas.microsoft.com/office/2007/relationships/hdphoto" Target="../media/hdphoto1.wdp"/><Relationship Id="rId4" Type="http://schemas.openxmlformats.org/officeDocument/2006/relationships/image" Target="../media/image12.png"/></Relationships>
</file>

<file path=ppt/slides/_rels/slide2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3.jpg"/><Relationship Id="rId7" Type="http://schemas.microsoft.com/office/2007/relationships/hdphoto" Target="../media/hdphoto1.wdp"/><Relationship Id="rId2" Type="http://schemas.openxmlformats.org/officeDocument/2006/relationships/notesSlide" Target="../notesSlides/notesSlide15.xml"/><Relationship Id="rId1" Type="http://schemas.openxmlformats.org/officeDocument/2006/relationships/slideLayout" Target="../slideLayouts/slideLayout10.xml"/><Relationship Id="rId6" Type="http://schemas.openxmlformats.org/officeDocument/2006/relationships/image" Target="../media/image12.png"/><Relationship Id="rId5" Type="http://schemas.openxmlformats.org/officeDocument/2006/relationships/image" Target="../media/image11.png"/><Relationship Id="rId4" Type="http://schemas.openxmlformats.org/officeDocument/2006/relationships/image" Target="../media/image10.pn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17.png"/><Relationship Id="rId2" Type="http://schemas.openxmlformats.org/officeDocument/2006/relationships/image" Target="../media/image16.jpg"/><Relationship Id="rId1" Type="http://schemas.openxmlformats.org/officeDocument/2006/relationships/slideLayout" Target="../slideLayouts/slideLayout6.xml"/><Relationship Id="rId5" Type="http://schemas.microsoft.com/office/2007/relationships/hdphoto" Target="../media/hdphoto2.wdp"/><Relationship Id="rId4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19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1.xml"/><Relationship Id="rId6" Type="http://schemas.microsoft.com/office/2007/relationships/hdphoto" Target="../media/hdphoto3.wdp"/><Relationship Id="rId5" Type="http://schemas.openxmlformats.org/officeDocument/2006/relationships/image" Target="../media/image21.png"/><Relationship Id="rId4" Type="http://schemas.openxmlformats.org/officeDocument/2006/relationships/image" Target="../media/image20.png"/></Relationships>
</file>

<file path=ppt/slides/_rels/slide5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5.xml"/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6.xml"/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2.emf"/><Relationship Id="rId1" Type="http://schemas.openxmlformats.org/officeDocument/2006/relationships/slideLayout" Target="../slideLayouts/slideLayout23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  <a:extLst>
              <a:ext uri="{837473B0-CC2E-450A-ABE3-18F120FF3D39}">
                <a1611:picAttrSrcUrl xmlns:a1611="http://schemas.microsoft.com/office/drawing/2016/11/main" r:id="rId4"/>
              </a:ext>
            </a:extLst>
          </a:blip>
          <a:srcRect/>
          <a:stretch>
            <a:fillRect t="-9000" b="-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36B4D6DB-577D-4B0C-B063-44ABF3D50877}"/>
              </a:ext>
            </a:extLst>
          </p:cNvPr>
          <p:cNvSpPr/>
          <p:nvPr/>
        </p:nvSpPr>
        <p:spPr>
          <a:xfrm>
            <a:off x="0" y="1"/>
            <a:ext cx="9144000" cy="4961201"/>
          </a:xfrm>
          <a:prstGeom prst="rect">
            <a:avLst/>
          </a:prstGeom>
          <a:solidFill>
            <a:schemeClr val="tx1">
              <a:alpha val="71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15">
              <a:buClrTx/>
            </a:pPr>
            <a:endParaRPr lang="en-ID" sz="1350" kern="1200">
              <a:solidFill>
                <a:prstClr val="white"/>
              </a:solidFill>
              <a:latin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4F0F806-775D-46CC-876E-7724016746A4}"/>
              </a:ext>
            </a:extLst>
          </p:cNvPr>
          <p:cNvSpPr txBox="1"/>
          <p:nvPr/>
        </p:nvSpPr>
        <p:spPr>
          <a:xfrm>
            <a:off x="-69273" y="335319"/>
            <a:ext cx="9144000" cy="738664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685715">
              <a:buClrTx/>
            </a:pPr>
            <a:r>
              <a:rPr lang="en-US" altLang="ko-KR" sz="2400" kern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Rounded MT Bold" panose="020F0704030504030204" pitchFamily="34" charset="0"/>
                <a:cs typeface="Arial" pitchFamily="34" charset="0"/>
              </a:rPr>
              <a:t>SELEKSI PNS BERPRESTASI </a:t>
            </a:r>
          </a:p>
          <a:p>
            <a:pPr algn="ctr" defTabSz="685715">
              <a:buClrTx/>
            </a:pPr>
            <a:r>
              <a:rPr lang="en-US" altLang="ko-KR" sz="1800" kern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Rounded MT Bold" panose="020F0704030504030204" pitchFamily="34" charset="0"/>
                <a:cs typeface="Arial" pitchFamily="34" charset="0"/>
              </a:rPr>
              <a:t>TAHUN 2021</a:t>
            </a:r>
            <a:endParaRPr lang="ko-KR" altLang="en-US" sz="1800" kern="120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Rounded MT Bold" panose="020F0704030504030204" pitchFamily="34" charset="0"/>
              <a:cs typeface="Arial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7A3409C-3487-482D-BA98-F9F742A0694B}"/>
              </a:ext>
            </a:extLst>
          </p:cNvPr>
          <p:cNvSpPr txBox="1"/>
          <p:nvPr/>
        </p:nvSpPr>
        <p:spPr>
          <a:xfrm>
            <a:off x="2275163" y="3996957"/>
            <a:ext cx="4306041" cy="553998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685715">
              <a:buClrTx/>
            </a:pPr>
            <a:r>
              <a:rPr lang="en-US" altLang="ko-KR" sz="1500" kern="1200" dirty="0">
                <a:solidFill>
                  <a:prstClr val="white"/>
                </a:solidFill>
                <a:cs typeface="Arial" pitchFamily="34" charset="0"/>
              </a:rPr>
              <a:t>BADAN KEPEGAWAIAN DAERAH</a:t>
            </a:r>
          </a:p>
          <a:p>
            <a:pPr algn="ctr" defTabSz="685715">
              <a:buClrTx/>
            </a:pPr>
            <a:r>
              <a:rPr lang="en-US" altLang="ko-KR" sz="1500" kern="1200" dirty="0">
                <a:solidFill>
                  <a:prstClr val="white"/>
                </a:solidFill>
                <a:cs typeface="Arial" pitchFamily="34" charset="0"/>
              </a:rPr>
              <a:t>PROVINSI JAWA BARAT</a:t>
            </a:r>
            <a:endParaRPr lang="ko-KR" altLang="en-US" sz="1500" kern="1200" dirty="0">
              <a:solidFill>
                <a:prstClr val="white"/>
              </a:solidFill>
              <a:cs typeface="Arial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8F7F71F-3277-4335-A366-FF5EE7555DEC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04" y="1461541"/>
            <a:ext cx="1431551" cy="210215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7C777823-EB11-4D8F-80D4-5862E77AA6DE}"/>
              </a:ext>
            </a:extLst>
          </p:cNvPr>
          <p:cNvGrpSpPr/>
          <p:nvPr/>
        </p:nvGrpSpPr>
        <p:grpSpPr>
          <a:xfrm>
            <a:off x="7806394" y="130618"/>
            <a:ext cx="1165064" cy="643093"/>
            <a:chOff x="9921341" y="214971"/>
            <a:chExt cx="2195146" cy="1211678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E8DE4852-44D2-47B6-960C-B08F6CDB70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486" t="10276" r="10972" b="7017"/>
            <a:stretch/>
          </p:blipFill>
          <p:spPr>
            <a:xfrm>
              <a:off x="11019207" y="243065"/>
              <a:ext cx="1097280" cy="1155491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87A37184-4E71-44D6-A954-E1DEE54713DF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BEBA8EAE-BF5A-486C-A8C5-ECC9F3942E4B}">
                  <a14:imgProps xmlns:a14="http://schemas.microsoft.com/office/drawing/2010/main">
                    <a14:imgLayer r:embed="rId8">
                      <a14:imgEffect>
                        <a14:colorTemperature colorTemp="11200"/>
                      </a14:imgEffect>
                      <a14:imgEffect>
                        <a14:brightnessContrast bright="4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21341" y="214971"/>
              <a:ext cx="1022353" cy="1211678"/>
            </a:xfrm>
            <a:prstGeom prst="rect">
              <a:avLst/>
            </a:prstGeom>
          </p:spPr>
        </p:pic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F26EEA98-E4F5-419C-8643-B8A42EF61FE6}"/>
              </a:ext>
            </a:extLst>
          </p:cNvPr>
          <p:cNvSpPr txBox="1"/>
          <p:nvPr/>
        </p:nvSpPr>
        <p:spPr>
          <a:xfrm>
            <a:off x="2275163" y="4504860"/>
            <a:ext cx="4306041" cy="3231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685715">
              <a:buClrTx/>
            </a:pPr>
            <a:r>
              <a:rPr lang="en-US" altLang="ko-KR" sz="1500" b="1" kern="1200" dirty="0">
                <a:solidFill>
                  <a:prstClr val="white"/>
                </a:solidFill>
                <a:cs typeface="Arial" pitchFamily="34" charset="0"/>
              </a:rPr>
              <a:t>TAHUN 2021</a:t>
            </a:r>
            <a:endParaRPr lang="ko-KR" altLang="en-US" sz="1500" b="1" kern="1200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860B642-5486-4805-B7D3-656781893DEC}"/>
              </a:ext>
            </a:extLst>
          </p:cNvPr>
          <p:cNvSpPr txBox="1"/>
          <p:nvPr/>
        </p:nvSpPr>
        <p:spPr>
          <a:xfrm>
            <a:off x="0" y="3565998"/>
            <a:ext cx="9143999" cy="307777"/>
          </a:xfrm>
          <a:prstGeom prst="rect">
            <a:avLst/>
          </a:prstGeom>
        </p:spPr>
        <p:style>
          <a:lnRef idx="0">
            <a:schemeClr val="accent5"/>
          </a:lnRef>
          <a:fillRef idx="3">
            <a:schemeClr val="accent5"/>
          </a:fillRef>
          <a:effectRef idx="3">
            <a:schemeClr val="accent5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altLang="ko-KR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INOVATIF, INSPIRATIF, THE FUTURE LEADER</a:t>
            </a:r>
            <a:endParaRPr lang="ko-KR" altLang="en-US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CED1BE53-4AEB-42B4-8BB2-8B300E3ABDF4}"/>
              </a:ext>
            </a:extLst>
          </p:cNvPr>
          <p:cNvSpPr txBox="1"/>
          <p:nvPr/>
        </p:nvSpPr>
        <p:spPr>
          <a:xfrm>
            <a:off x="70704" y="1871413"/>
            <a:ext cx="9144000" cy="830997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685715">
              <a:buClrTx/>
            </a:pPr>
            <a:r>
              <a:rPr lang="en-US" altLang="ko-KR" sz="2400" kern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Rounded MT Bold" panose="020F0704030504030204" pitchFamily="34" charset="0"/>
                <a:cs typeface="Arial" pitchFamily="34" charset="0"/>
              </a:rPr>
              <a:t>TEKNIS PENULISAN MAKALAH DAN </a:t>
            </a:r>
          </a:p>
          <a:p>
            <a:pPr algn="ctr" defTabSz="685715">
              <a:buClrTx/>
            </a:pPr>
            <a:r>
              <a:rPr lang="en-US" altLang="ko-KR" sz="2400" kern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Rounded MT Bold" panose="020F0704030504030204" pitchFamily="34" charset="0"/>
                <a:cs typeface="Arial" pitchFamily="34" charset="0"/>
              </a:rPr>
              <a:t>BAHAN PRESENTASI</a:t>
            </a:r>
            <a:endParaRPr lang="ko-KR" altLang="en-US" sz="1800" kern="120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Rounded MT Bold" panose="020F070403050403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032476198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47000">
              <a:srgbClr val="00B0F0"/>
            </a:gs>
            <a:gs pos="0">
              <a:schemeClr val="accent1">
                <a:lumMod val="5000"/>
                <a:lumOff val="95000"/>
              </a:schemeClr>
            </a:gs>
            <a:gs pos="65000">
              <a:schemeClr val="accent6">
                <a:lumMod val="50000"/>
                <a:lumOff val="50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89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2005BB26-8C5A-4C54-8613-F2C0EE322D44}"/>
              </a:ext>
            </a:extLst>
          </p:cNvPr>
          <p:cNvSpPr/>
          <p:nvPr/>
        </p:nvSpPr>
        <p:spPr>
          <a:xfrm>
            <a:off x="280554" y="67540"/>
            <a:ext cx="8582891" cy="5008418"/>
          </a:xfrm>
          <a:prstGeom prst="rect">
            <a:avLst/>
          </a:prstGeom>
          <a:solidFill>
            <a:schemeClr val="accent1">
              <a:lumMod val="20000"/>
              <a:lumOff val="80000"/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381C9872-2A4D-4281-B78C-436AF31FB09F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01927042"/>
              </p:ext>
            </p:extLst>
          </p:nvPr>
        </p:nvGraphicFramePr>
        <p:xfrm>
          <a:off x="457725" y="157096"/>
          <a:ext cx="8228548" cy="4829305"/>
        </p:xfrm>
        <a:graphic>
          <a:graphicData uri="http://schemas.openxmlformats.org/drawingml/2006/table">
            <a:tbl>
              <a:tblPr firstRow="1" firstCol="1" bandRow="1">
                <a:tableStyleId>{CEE5C0A8-22BA-475E-88B9-26B833EDCDDB}</a:tableStyleId>
              </a:tblPr>
              <a:tblGrid>
                <a:gridCol w="627654">
                  <a:extLst>
                    <a:ext uri="{9D8B030D-6E8A-4147-A177-3AD203B41FA5}">
                      <a16:colId xmlns:a16="http://schemas.microsoft.com/office/drawing/2014/main" val="894097672"/>
                    </a:ext>
                  </a:extLst>
                </a:gridCol>
                <a:gridCol w="1966637">
                  <a:extLst>
                    <a:ext uri="{9D8B030D-6E8A-4147-A177-3AD203B41FA5}">
                      <a16:colId xmlns:a16="http://schemas.microsoft.com/office/drawing/2014/main" val="304069591"/>
                    </a:ext>
                  </a:extLst>
                </a:gridCol>
                <a:gridCol w="5634257">
                  <a:extLst>
                    <a:ext uri="{9D8B030D-6E8A-4147-A177-3AD203B41FA5}">
                      <a16:colId xmlns:a16="http://schemas.microsoft.com/office/drawing/2014/main" val="2472831031"/>
                    </a:ext>
                  </a:extLst>
                </a:gridCol>
              </a:tblGrid>
              <a:tr h="168598">
                <a:tc gridSpan="3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b="0" i="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B III. ANALISA PRODUK INOVASI (</a:t>
                      </a:r>
                      <a:r>
                        <a:rPr lang="en-US" sz="1200" b="0" i="0" dirty="0" err="1">
                          <a:solidFill>
                            <a:schemeClr val="bg1"/>
                          </a:solidFill>
                          <a:effectLst/>
                          <a:latin typeface="+mj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aksimal</a:t>
                      </a:r>
                      <a:r>
                        <a:rPr lang="en-US" sz="1200" b="0" i="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1000 Kata)</a:t>
                      </a:r>
                      <a:endParaRPr lang="en-ID" sz="1200" b="0" i="0" dirty="0">
                        <a:solidFill>
                          <a:schemeClr val="bg1"/>
                        </a:solidFill>
                        <a:effectLst/>
                        <a:latin typeface="+mj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9857" marR="49857" marT="0" marB="0"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53472592"/>
                  </a:ext>
                </a:extLst>
              </a:tr>
              <a:tr h="37753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.1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9857" marR="49857" marT="0" marB="0" anchor="ctr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208280" algn="l">
                        <a:lnSpc>
                          <a:spcPct val="111000"/>
                        </a:lnSpc>
                        <a:spcAft>
                          <a:spcPts val="205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eskripsi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Inovasi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  <a:p>
                      <a:pPr algn="l"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 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9857" marR="49857" marT="0" marB="0" anchor="ctr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Jelas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ecar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ingkat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rodu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inova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ihasil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eliput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efini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fung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rodu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inovasi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9857" marR="49857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512253335"/>
                  </a:ext>
                </a:extLst>
              </a:tr>
              <a:tr h="35901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.2</a:t>
                      </a:r>
                      <a:endParaRPr lang="en-ID" sz="120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9857" marR="49857" marT="0" marB="0" anchor="ctr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208280" algn="l">
                        <a:lnSpc>
                          <a:spcPct val="111000"/>
                        </a:lnSpc>
                        <a:spcAft>
                          <a:spcPts val="205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anfaat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rodu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9857" marR="49857" marT="0" marB="0" anchor="ctr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208280" algn="just">
                        <a:lnSpc>
                          <a:spcPct val="111000"/>
                        </a:lnSpc>
                        <a:spcAft>
                          <a:spcPts val="205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eskripsi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	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eguna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rodu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inova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untu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enggun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eliput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fung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rodu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ila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ambah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/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ila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ekonom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iberi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epad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stakeholder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9857" marR="49857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14007284"/>
                  </a:ext>
                </a:extLst>
              </a:tr>
              <a:tr h="35901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.3</a:t>
                      </a:r>
                      <a:endParaRPr lang="en-ID" sz="120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9857" marR="49857" marT="0" marB="0" anchor="ctr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208280" algn="l">
                        <a:lnSpc>
                          <a:spcPct val="111000"/>
                        </a:lnSpc>
                        <a:spcAft>
                          <a:spcPts val="205"/>
                        </a:spcAft>
                      </a:pPr>
                      <a:r>
                        <a:rPr lang="en-US" sz="120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eunggulan dan Kelemahan Inovasi</a:t>
                      </a:r>
                      <a:endParaRPr lang="en-ID" sz="120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9857" marR="49857" marT="0" marB="0" anchor="ctr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208280" algn="just">
                        <a:lnSpc>
                          <a:spcPct val="111000"/>
                        </a:lnSpc>
                        <a:spcAft>
                          <a:spcPts val="205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Jelas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eunggul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elemah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inova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elah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ibuat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9857" marR="49857" marT="0" marB="0" anchor="ctr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7696291"/>
                  </a:ext>
                </a:extLst>
              </a:tr>
              <a:tr h="35901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.4</a:t>
                      </a:r>
                      <a:endParaRPr lang="en-ID" sz="120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9857" marR="49857" marT="0" marB="0" anchor="ctr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208280" algn="l">
                        <a:lnSpc>
                          <a:spcPct val="111000"/>
                        </a:lnSpc>
                        <a:spcAft>
                          <a:spcPts val="205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epemili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rodu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Inova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9857" marR="49857" marT="0" marB="0" anchor="ctr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208280" algn="just">
                        <a:lnSpc>
                          <a:spcPct val="111000"/>
                        </a:lnSpc>
                        <a:spcAft>
                          <a:spcPts val="205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ebut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jelas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status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epemili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inova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pakah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ili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ribad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elompo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tau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Lembaga (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antor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)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tau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lainnya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9857" marR="49857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94500104"/>
                  </a:ext>
                </a:extLst>
              </a:tr>
              <a:tr h="92460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3.5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9857" marR="49857" marT="0" marB="0" anchor="ctr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208280" algn="l">
                        <a:lnSpc>
                          <a:spcPct val="111000"/>
                        </a:lnSpc>
                        <a:spcAft>
                          <a:spcPts val="205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ekaya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Intelektual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9857" marR="49857" marT="0" marB="0" anchor="ctr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208280" algn="just">
                        <a:lnSpc>
                          <a:spcPct val="111000"/>
                        </a:lnSpc>
                        <a:spcAft>
                          <a:spcPts val="205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ebut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jenis-jenis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ekaya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Intelektual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p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udah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iaju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iaju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(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epert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Paten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Ha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Cipt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, Desai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Industr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ere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agang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Rahasi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agang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tau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lainny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) dan status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ekaya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Intelektual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aat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in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(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ida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iaju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elum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iaju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, proses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engaju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elah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idaftar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, masa uji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ubstan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)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jelas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lasanny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9857" marR="49857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91611366"/>
                  </a:ext>
                </a:extLst>
              </a:tr>
              <a:tr h="168598">
                <a:tc gridSpan="3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b="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AB IV. ANALISIS DAMPAK INOVASI (</a:t>
                      </a:r>
                      <a:r>
                        <a:rPr lang="en-US" sz="1200" b="0" dirty="0" err="1">
                          <a:solidFill>
                            <a:schemeClr val="bg1"/>
                          </a:solidFill>
                          <a:effectLst/>
                          <a:latin typeface="+mj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aksimal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  <a:effectLst/>
                          <a:latin typeface="+mj-lt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1500 Kata)</a:t>
                      </a:r>
                      <a:endParaRPr lang="en-ID" sz="1200" b="0" dirty="0">
                        <a:solidFill>
                          <a:schemeClr val="bg1"/>
                        </a:solidFill>
                        <a:effectLst/>
                        <a:latin typeface="+mj-lt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9857" marR="49857" marT="0" marB="0"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81162219"/>
                  </a:ext>
                </a:extLst>
              </a:tr>
              <a:tr h="34716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.1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9857" marR="49857" marT="0" marB="0" anchor="ctr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inerja di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lingkung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erja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9857" marR="49857" marT="0" marB="0" anchor="ctr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Jelas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ampa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erhadap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eningkat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roduktivitas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erj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Etos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erj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eningkat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Efisien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iay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/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Anggar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9857" marR="49857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7042852"/>
                  </a:ext>
                </a:extLst>
              </a:tr>
              <a:tr h="71065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.2</a:t>
                      </a:r>
                      <a:endParaRPr lang="en-ID" sz="120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9857" marR="49857" marT="0" marB="0" anchor="ctr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ebija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emerintah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9857" marR="49857" marT="0" marB="0" anchor="ctr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Jelaskan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ampak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inovasi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erhadap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ebijakan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ublik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,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eningkatan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apasitas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SDM,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eningkatan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ualitas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tata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elola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emerintahan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, dan Tata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elola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embangunan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asyarakat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erta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ampak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erhadap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eningkatan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enerapan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Iptek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epada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SDM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emerintah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,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ll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9857" marR="49857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8358942"/>
                  </a:ext>
                </a:extLst>
              </a:tr>
              <a:tr h="71065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4.3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9857" marR="49857" marT="0" marB="0" anchor="ctr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asyarakat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Tahoma" panose="020B0604030504040204" pitchFamily="34" charset="0"/>
                        <a:ea typeface="Tahoma" panose="020B0604030504040204" pitchFamily="34" charset="0"/>
                        <a:cs typeface="Tahoma" panose="020B0604030504040204" pitchFamily="34" charset="0"/>
                      </a:endParaRPr>
                    </a:p>
                  </a:txBody>
                  <a:tcPr marL="49857" marR="49857" marT="0" marB="0" anchor="ctr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Jelaskan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ampak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inovasi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erhadap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eningkatan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aya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aing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(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eningkatan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ualitas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,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uantitas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,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erta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ilai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tambah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),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erbaikan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tata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nilai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asyarakat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(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eni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budaya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,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sosial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,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ekonomi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,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olitik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,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eamanan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,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etentraman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,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endidikan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,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kesehatan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), dan Tingkat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partisipasi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masyarakat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dll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Tahoma" panose="020B0604030504040204" pitchFamily="34" charset="0"/>
                          <a:ea typeface="Tahoma" panose="020B0604030504040204" pitchFamily="34" charset="0"/>
                          <a:cs typeface="Tahoma" panose="020B0604030504040204" pitchFamily="34" charset="0"/>
                        </a:rPr>
                        <a:t>.</a:t>
                      </a:r>
                    </a:p>
                  </a:txBody>
                  <a:tcPr marL="49857" marR="49857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8528763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42569730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47000">
              <a:srgbClr val="00B0F0"/>
            </a:gs>
            <a:gs pos="0">
              <a:schemeClr val="accent1">
                <a:lumMod val="5000"/>
                <a:lumOff val="95000"/>
              </a:schemeClr>
            </a:gs>
            <a:gs pos="65000">
              <a:schemeClr val="accent6">
                <a:lumMod val="50000"/>
                <a:lumOff val="50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89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>
            <a:extLst>
              <a:ext uri="{FF2B5EF4-FFF2-40B4-BE49-F238E27FC236}">
                <a16:creationId xmlns:a16="http://schemas.microsoft.com/office/drawing/2014/main" id="{FF592B19-7121-4F9E-B62B-8BADC31C4211}"/>
              </a:ext>
            </a:extLst>
          </p:cNvPr>
          <p:cNvSpPr/>
          <p:nvPr/>
        </p:nvSpPr>
        <p:spPr>
          <a:xfrm>
            <a:off x="280554" y="67540"/>
            <a:ext cx="8582891" cy="5008418"/>
          </a:xfrm>
          <a:prstGeom prst="rect">
            <a:avLst/>
          </a:prstGeom>
          <a:solidFill>
            <a:schemeClr val="accent1">
              <a:lumMod val="20000"/>
              <a:lumOff val="80000"/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D050F679-5D12-43E2-B2A7-3A48159CEB04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381800924"/>
              </p:ext>
            </p:extLst>
          </p:nvPr>
        </p:nvGraphicFramePr>
        <p:xfrm>
          <a:off x="459955" y="348561"/>
          <a:ext cx="8224088" cy="2992502"/>
        </p:xfrm>
        <a:graphic>
          <a:graphicData uri="http://schemas.openxmlformats.org/drawingml/2006/table">
            <a:tbl>
              <a:tblPr firstRow="1" firstCol="1" bandRow="1">
                <a:tableStyleId>{CEE5C0A8-22BA-475E-88B9-26B833EDCDDB}</a:tableStyleId>
              </a:tblPr>
              <a:tblGrid>
                <a:gridCol w="627315">
                  <a:extLst>
                    <a:ext uri="{9D8B030D-6E8A-4147-A177-3AD203B41FA5}">
                      <a16:colId xmlns:a16="http://schemas.microsoft.com/office/drawing/2014/main" val="2903140962"/>
                    </a:ext>
                  </a:extLst>
                </a:gridCol>
                <a:gridCol w="2305904">
                  <a:extLst>
                    <a:ext uri="{9D8B030D-6E8A-4147-A177-3AD203B41FA5}">
                      <a16:colId xmlns:a16="http://schemas.microsoft.com/office/drawing/2014/main" val="2520873350"/>
                    </a:ext>
                  </a:extLst>
                </a:gridCol>
                <a:gridCol w="5290869">
                  <a:extLst>
                    <a:ext uri="{9D8B030D-6E8A-4147-A177-3AD203B41FA5}">
                      <a16:colId xmlns:a16="http://schemas.microsoft.com/office/drawing/2014/main" val="3907149290"/>
                    </a:ext>
                  </a:extLst>
                </a:gridCol>
              </a:tblGrid>
              <a:tr h="0">
                <a:tc gridSpan="3">
                  <a:txBody>
                    <a:bodyPr/>
                    <a:lstStyle/>
                    <a:p>
                      <a:pPr algn="l"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b="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BAB V RENCANA PENGEMBANGAN INOVASI (500 Kata)</a:t>
                      </a:r>
                      <a:endParaRPr lang="en-ID" sz="1200" b="0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608479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5.1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Barlow Light" panose="020B060402020202020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Road Map (Peta Jalan) Pengembang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Inovasi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Barlow Light" panose="020B060402020202020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Jelas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gambar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pengembang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produ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dar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tahap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ide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awal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hingg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tahap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sekarang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sudah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dilaku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rencan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pengembang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produ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/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inova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a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dilaku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selam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du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atau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lima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tahu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ke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dep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. 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Barlow Light" panose="020B060402020202020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6027743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5.2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Barlow Light" panose="020B060402020202020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Kesiap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SDM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Biay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Barlow Light" panose="020B060402020202020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Jelaskan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kesiapan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SDM yang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diperlukan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(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kompetensi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,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Jumlah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,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asal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SDM),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Kebutuhan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dan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sumber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biaya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untuk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pengembangan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inovasi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ke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depan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.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Barlow Light" panose="020B060402020202020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1906472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5.3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Barlow Light" panose="020B060402020202020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Penerapan/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Implemeta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Inovasi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Barlow Light" panose="020B060402020202020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Jelaskan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Peluang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Penerapan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di Unit lain, Dinas Lain,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Pemda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Lain,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bahkan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penerapan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secara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Nasional,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Permasalahan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/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Kelemahan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dari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Inovasi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jika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di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terapkan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lebih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luas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dan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jelaskan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Teknik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untuk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mengimplementasikan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pada wilayah yang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lebih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luas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Barlow Light" panose="020B060402020202020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7105210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100" b="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BAB VI.</a:t>
                      </a:r>
                      <a:endParaRPr lang="en-ID" sz="1100" b="0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5"/>
                    </a:solidFill>
                  </a:tcPr>
                </a:tc>
                <a:tc gridSpan="2">
                  <a:txBody>
                    <a:bodyPr/>
                    <a:lstStyle/>
                    <a:p>
                      <a:pPr marL="0" indent="0"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b="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KESIMPULAN DAN SARAN (</a:t>
                      </a:r>
                      <a:r>
                        <a:rPr lang="en-US" sz="1200" b="0" dirty="0" err="1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Maksimal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  <a:effectLst/>
                          <a:latin typeface="+mj-lt"/>
                        </a:rPr>
                        <a:t> 500 Kata)</a:t>
                      </a:r>
                      <a:endParaRPr lang="en-ID" sz="1200" b="0" dirty="0">
                        <a:solidFill>
                          <a:schemeClr val="bg1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5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98937905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6.1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Barlow Light" panose="020B060402020202020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Kesimpulan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Barlow Light" panose="020B060402020202020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Jawab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secar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ringkas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berdasar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pembahas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sebelumny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dar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alternatif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pemecah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permasalah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deng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Inova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kembang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.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Barlow Light" panose="020B060402020202020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70856238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6.2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Barlow Light" panose="020B060402020202020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Saran-Saran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Barlow Light" panose="020B060402020202020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Sampai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saran-sar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kepad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pihak-piha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terkait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bekena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deng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hasil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inova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.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Barlow Light" panose="020B060402020202020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682332852"/>
                  </a:ext>
                </a:extLst>
              </a:tr>
              <a:tr h="0">
                <a:tc grid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b="0" dirty="0">
                          <a:solidFill>
                            <a:schemeClr val="bg1"/>
                          </a:solidFill>
                          <a:effectLst/>
                          <a:latin typeface="Barlow Light" panose="020B0604020202020204" charset="0"/>
                        </a:rPr>
                        <a:t>DAFTAR PUSTAKA</a:t>
                      </a:r>
                      <a:endParaRPr lang="en-ID" sz="1200" b="0" dirty="0">
                        <a:solidFill>
                          <a:schemeClr val="bg1"/>
                        </a:solidFill>
                        <a:effectLst/>
                        <a:latin typeface="Barlow Light" panose="020B060402020202020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7821484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25071E14-3B48-4C92-9FCE-68AC2402140F}"/>
              </a:ext>
            </a:extLst>
          </p:cNvPr>
          <p:cNvSpPr txBox="1"/>
          <p:nvPr/>
        </p:nvSpPr>
        <p:spPr>
          <a:xfrm>
            <a:off x="1156856" y="3622083"/>
            <a:ext cx="7031182" cy="1363065"/>
          </a:xfrm>
          <a:prstGeom prst="rect">
            <a:avLst/>
          </a:prstGeom>
          <a:solidFill>
            <a:schemeClr val="accent6">
              <a:lumMod val="25000"/>
              <a:lumOff val="75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txBody>
          <a:bodyPr wrap="square">
            <a:spAutoFit/>
          </a:bodyPr>
          <a:lstStyle/>
          <a:p>
            <a:pPr marR="208280" algn="just">
              <a:lnSpc>
                <a:spcPct val="107000"/>
              </a:lnSpc>
              <a:spcAft>
                <a:spcPts val="320"/>
              </a:spcAft>
            </a:pP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MPIRAN </a:t>
            </a:r>
            <a:endParaRPr lang="en-ID" sz="12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208280" algn="just">
              <a:lnSpc>
                <a:spcPct val="107000"/>
              </a:lnSpc>
              <a:spcAft>
                <a:spcPts val="320"/>
              </a:spcAft>
            </a:pPr>
            <a:r>
              <a:rPr lang="en-US" sz="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to</a:t>
            </a:r>
            <a:r>
              <a:rPr lang="en-US" sz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duk</a:t>
            </a:r>
            <a:r>
              <a:rPr lang="en-US" sz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ovasi</a:t>
            </a:r>
            <a:r>
              <a:rPr lang="en-ID" sz="12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to-Foto</a:t>
            </a:r>
            <a:r>
              <a:rPr lang="en-US" sz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egiatan</a:t>
            </a:r>
            <a:r>
              <a:rPr lang="en-US" sz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manfaatan</a:t>
            </a:r>
            <a:r>
              <a:rPr lang="en-US" sz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ovasi</a:t>
            </a:r>
            <a:r>
              <a:rPr lang="en-ID" sz="12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an </a:t>
            </a:r>
            <a:r>
              <a:rPr lang="en-US" sz="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kumentasi</a:t>
            </a:r>
            <a:r>
              <a:rPr lang="en-US" sz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duk</a:t>
            </a:r>
            <a:r>
              <a:rPr lang="en-US" sz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innya</a:t>
            </a:r>
            <a:r>
              <a:rPr lang="en-US" sz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Hasil </a:t>
            </a:r>
            <a:r>
              <a:rPr lang="en-US" sz="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ngujian</a:t>
            </a:r>
            <a:r>
              <a:rPr lang="en-US" sz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rifikasi</a:t>
            </a:r>
            <a:r>
              <a:rPr lang="en-US" sz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ak</a:t>
            </a:r>
            <a:r>
              <a:rPr lang="en-US" sz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aten </a:t>
            </a:r>
            <a:r>
              <a:rPr lang="en-US" sz="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ll</a:t>
            </a:r>
            <a:r>
              <a:rPr lang="en-US" sz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ika</a:t>
            </a:r>
            <a:r>
              <a:rPr lang="en-US" sz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a</a:t>
            </a:r>
            <a:r>
              <a:rPr lang="en-US" sz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endParaRPr lang="en-ID" sz="1200" dirty="0">
              <a:solidFill>
                <a:schemeClr val="bg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20725" marR="3175" indent="-720725" algn="just">
              <a:lnSpc>
                <a:spcPct val="103000"/>
              </a:lnSpc>
              <a:spcAft>
                <a:spcPts val="265"/>
              </a:spcAft>
            </a:pPr>
            <a:endParaRPr lang="en-US" sz="120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20725" marR="3175" indent="-720725" algn="just">
              <a:lnSpc>
                <a:spcPct val="103000"/>
              </a:lnSpc>
              <a:spcAft>
                <a:spcPts val="265"/>
              </a:spcAft>
            </a:pPr>
            <a:r>
              <a:rPr lang="en-US" sz="1200" b="1" dirty="0" err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tatan</a:t>
            </a:r>
            <a:r>
              <a:rPr lang="en-US" sz="1200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: </a:t>
            </a:r>
            <a:r>
              <a:rPr lang="en-US" sz="1200" b="1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kalah</a:t>
            </a:r>
            <a:r>
              <a:rPr lang="en-US" sz="12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b="1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tulis</a:t>
            </a:r>
            <a:r>
              <a:rPr lang="en-US" sz="12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ada </a:t>
            </a:r>
            <a:r>
              <a:rPr lang="en-US" sz="1200" b="1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ertas</a:t>
            </a:r>
            <a:r>
              <a:rPr lang="en-US" sz="12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4 </a:t>
            </a:r>
            <a:r>
              <a:rPr lang="en-US" sz="1200" b="1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ngan</a:t>
            </a:r>
            <a:r>
              <a:rPr lang="en-US" sz="12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b="1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uruf</a:t>
            </a:r>
            <a:r>
              <a:rPr lang="en-US" sz="12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imes New Roman font 12, </a:t>
            </a:r>
            <a:r>
              <a:rPr lang="en-US" sz="1200" b="1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pasi</a:t>
            </a:r>
            <a:r>
              <a:rPr lang="en-US" sz="12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1,5 </a:t>
            </a:r>
            <a:r>
              <a:rPr lang="en-US" sz="1200" b="1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rta</a:t>
            </a:r>
            <a:r>
              <a:rPr lang="en-US" sz="12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margin (</a:t>
            </a:r>
            <a:r>
              <a:rPr lang="en-US" sz="1200" b="1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tas-bawah-kiri</a:t>
            </a:r>
            <a:r>
              <a:rPr lang="en-US" sz="12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asing-masing 2,5 cm dan </a:t>
            </a:r>
            <a:r>
              <a:rPr lang="en-US" sz="1200" b="1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anan</a:t>
            </a:r>
            <a:r>
              <a:rPr lang="en-US" sz="12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2 cm). </a:t>
            </a:r>
            <a:endParaRPr lang="en-ID" sz="1200" b="1" dirty="0">
              <a:solidFill>
                <a:schemeClr val="bg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342047359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47000">
              <a:srgbClr val="00B0F0"/>
            </a:gs>
            <a:gs pos="0">
              <a:schemeClr val="accent1">
                <a:lumMod val="5000"/>
                <a:lumOff val="95000"/>
              </a:schemeClr>
            </a:gs>
            <a:gs pos="65000">
              <a:schemeClr val="accent6">
                <a:lumMod val="50000"/>
                <a:lumOff val="50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89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73D0C8FD-D52A-420E-819E-C1EB3AD3B3D2}"/>
              </a:ext>
            </a:extLst>
          </p:cNvPr>
          <p:cNvSpPr txBox="1"/>
          <p:nvPr/>
        </p:nvSpPr>
        <p:spPr>
          <a:xfrm>
            <a:off x="420398" y="80417"/>
            <a:ext cx="8303201" cy="332079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lnSpc>
                <a:spcPct val="107000"/>
              </a:lnSpc>
              <a:spcAft>
                <a:spcPts val="140"/>
              </a:spcAft>
            </a:pPr>
            <a:r>
              <a:rPr lang="en-US" sz="1600" b="1" dirty="0">
                <a:solidFill>
                  <a:schemeClr val="bg1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SISTEMATIS PENYUSUNAN MAKALAH KATEGORI PNS </a:t>
            </a:r>
            <a:r>
              <a:rPr lang="en-US" sz="1600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PIRATIF </a:t>
            </a:r>
            <a:endParaRPr lang="en-ID" sz="1600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2EED5C8E-0F01-4786-B88F-C88F64BAD0B3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20987502"/>
              </p:ext>
            </p:extLst>
          </p:nvPr>
        </p:nvGraphicFramePr>
        <p:xfrm>
          <a:off x="240723" y="463152"/>
          <a:ext cx="8662553" cy="4599931"/>
        </p:xfrm>
        <a:graphic>
          <a:graphicData uri="http://schemas.openxmlformats.org/drawingml/2006/table">
            <a:tbl>
              <a:tblPr firstRow="1" firstCol="1" bandRow="1">
                <a:tableStyleId>{CEE5C0A8-22BA-475E-88B9-26B833EDCDDB}</a:tableStyleId>
              </a:tblPr>
              <a:tblGrid>
                <a:gridCol w="362366">
                  <a:extLst>
                    <a:ext uri="{9D8B030D-6E8A-4147-A177-3AD203B41FA5}">
                      <a16:colId xmlns:a16="http://schemas.microsoft.com/office/drawing/2014/main" val="2027114497"/>
                    </a:ext>
                  </a:extLst>
                </a:gridCol>
                <a:gridCol w="1589615">
                  <a:extLst>
                    <a:ext uri="{9D8B030D-6E8A-4147-A177-3AD203B41FA5}">
                      <a16:colId xmlns:a16="http://schemas.microsoft.com/office/drawing/2014/main" val="3352273026"/>
                    </a:ext>
                  </a:extLst>
                </a:gridCol>
                <a:gridCol w="6710572">
                  <a:extLst>
                    <a:ext uri="{9D8B030D-6E8A-4147-A177-3AD203B41FA5}">
                      <a16:colId xmlns:a16="http://schemas.microsoft.com/office/drawing/2014/main" val="3560816998"/>
                    </a:ext>
                  </a:extLst>
                </a:gridCol>
              </a:tblGrid>
              <a:tr h="181594">
                <a:tc grid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b="0" dirty="0">
                          <a:solidFill>
                            <a:schemeClr val="bg1"/>
                          </a:solidFill>
                          <a:effectLst/>
                        </a:rPr>
                        <a:t>DAFTAR ISI</a:t>
                      </a:r>
                      <a:endParaRPr lang="en-ID" sz="1200" b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606" marR="41606" marT="0" marB="0"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834551038"/>
                  </a:ext>
                </a:extLst>
              </a:tr>
              <a:tr h="181594">
                <a:tc grid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b="0" dirty="0">
                          <a:solidFill>
                            <a:schemeClr val="bg1"/>
                          </a:solidFill>
                          <a:effectLst/>
                        </a:rPr>
                        <a:t>LEMBAR PENGESAHAN</a:t>
                      </a:r>
                      <a:endParaRPr lang="en-ID" sz="1200" b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606" marR="41606" marT="0" marB="0"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526978000"/>
                  </a:ext>
                </a:extLst>
              </a:tr>
              <a:tr h="564013"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Ringkas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Eksekutif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(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maksimal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500 Kata)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606" marR="4160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Jelas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secar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ringkas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terkait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eng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inova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/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giat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memberi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inspira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yang di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apar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ar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aspe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rodu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inspiratif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ampakny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rencan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untu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litera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lebih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luas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 dan output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giat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ihasil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606" marR="4160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670342"/>
                  </a:ext>
                </a:extLst>
              </a:tr>
              <a:tr h="181594">
                <a:tc grid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b="0" dirty="0">
                          <a:solidFill>
                            <a:schemeClr val="bg1"/>
                          </a:solidFill>
                          <a:effectLst>
                            <a:outerShdw blurRad="38100" dist="38100" dir="2700000" algn="tl">
                              <a:srgbClr val="000000">
                                <a:alpha val="43137"/>
                              </a:srgbClr>
                            </a:outerShdw>
                          </a:effectLst>
                        </a:rPr>
                        <a:t>BAB I.   PENDAHULUAN (1000 Kata)</a:t>
                      </a:r>
                      <a:endParaRPr lang="en-ID" sz="1200" b="0" dirty="0">
                        <a:solidFill>
                          <a:schemeClr val="bg1"/>
                        </a:solidFill>
                        <a:effectLst>
                          <a:outerShdw blurRad="38100" dist="38100" dir="2700000" algn="tl">
                            <a:srgbClr val="000000">
                              <a:alpha val="43137"/>
                            </a:srgbClr>
                          </a:outerShdw>
                        </a:effectLst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606" marR="41606" marT="0" marB="0"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429084900"/>
                  </a:ext>
                </a:extLst>
              </a:tr>
              <a:tr h="56401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1.1.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606" marR="4160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Latar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Belakang</a:t>
                      </a:r>
                      <a:endParaRPr lang="en-ID" sz="7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606" marR="4160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Jelas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latar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belakang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mendasar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ide/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gagas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giat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memberi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inspira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/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pelopor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pad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lainny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rmasalah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atau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ndal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ihadap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saat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in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redik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rkembang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ep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. (Jika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ad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idukung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eng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ata-data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uantitatif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)</a:t>
                      </a:r>
                      <a:endParaRPr lang="en-ID" sz="7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606" marR="4160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37601053"/>
                  </a:ext>
                </a:extLst>
              </a:tr>
              <a:tr h="37280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1.2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606" marR="4160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>
                          <a:solidFill>
                            <a:schemeClr val="bg1"/>
                          </a:solidFill>
                          <a:effectLst/>
                        </a:rPr>
                        <a:t>Identifikasi dan perumusan Masalah</a:t>
                      </a:r>
                      <a:endParaRPr lang="en-ID" sz="70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606" marR="4160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Jelas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beberap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rmasalah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muncul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bai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i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alam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kerja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maupu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terjad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i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masyarakat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rumus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rmasalah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a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i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selesai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eng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rodu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yang di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tawarkan</a:t>
                      </a:r>
                      <a:endParaRPr lang="en-ID" sz="7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606" marR="4160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367300383"/>
                  </a:ext>
                </a:extLst>
              </a:tr>
              <a:tr h="37280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1.3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606" marR="4160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>
                          <a:solidFill>
                            <a:schemeClr val="bg1"/>
                          </a:solidFill>
                          <a:effectLst/>
                        </a:rPr>
                        <a:t>Tujuan</a:t>
                      </a:r>
                      <a:endParaRPr lang="en-ID" sz="70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606" marR="4160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Jelas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Tuju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ilakukanny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giat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/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rodu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meninspira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tersebut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alam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menyelesai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rmasalahan</a:t>
                      </a:r>
                      <a:endParaRPr lang="en-ID" sz="7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606" marR="4160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48556589"/>
                  </a:ext>
                </a:extLst>
              </a:tr>
              <a:tr h="37280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1.4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606" marR="4160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Manfaat</a:t>
                      </a:r>
                      <a:endParaRPr lang="en-ID" sz="7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606" marR="4160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Jelas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Manfaat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rodu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/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giat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inspiratif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bag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ir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sendir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alam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kerja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lingkung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rj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merintah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masyarakat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ll</a:t>
                      </a:r>
                      <a:endParaRPr lang="en-ID" sz="7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606" marR="4160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20738212"/>
                  </a:ext>
                </a:extLst>
              </a:tr>
              <a:tr h="37280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1.5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606" marR="4160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Output/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luaran</a:t>
                      </a:r>
                      <a:endParaRPr lang="en-ID" sz="7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606" marR="4160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Sebut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luar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ar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rodu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/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giat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inspiratif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tersebut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(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Sistem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Model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bija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rototife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rodu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rodu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siap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ikomersial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Litera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social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mberdaya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masyarakat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ll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)</a:t>
                      </a:r>
                      <a:endParaRPr lang="en-ID" sz="7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606" marR="4160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14285690"/>
                  </a:ext>
                </a:extLst>
              </a:tr>
              <a:tr h="181594">
                <a:tc grid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b="0" dirty="0">
                          <a:solidFill>
                            <a:schemeClr val="bg1"/>
                          </a:solidFill>
                          <a:effectLst/>
                        </a:rPr>
                        <a:t>BAB II.  ASPEK TEKNIS PRODUK/KEGIATAN INSPIRATIF ( </a:t>
                      </a:r>
                      <a:r>
                        <a:rPr lang="en-US" sz="1200" b="0" dirty="0" err="1">
                          <a:solidFill>
                            <a:schemeClr val="bg1"/>
                          </a:solidFill>
                          <a:effectLst/>
                        </a:rPr>
                        <a:t>Maksimal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  <a:effectLst/>
                        </a:rPr>
                        <a:t> 1000 Kata)</a:t>
                      </a:r>
                      <a:endParaRPr lang="en-ID" sz="1200" b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606" marR="41606" marT="0" marB="0"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452921416"/>
                  </a:ext>
                </a:extLst>
              </a:tr>
              <a:tr h="37280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2.1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606" marR="4160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Alat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bah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igunakan</a:t>
                      </a:r>
                      <a:endParaRPr lang="en-ID" sz="7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606" marR="4160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Sebut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jelas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sepsifika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bah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alat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iguna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ar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mana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alat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bah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tersebut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apat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iperoleh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bagiaman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ngunaanny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.</a:t>
                      </a:r>
                      <a:endParaRPr lang="en-ID" sz="7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606" marR="4160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78353947"/>
                  </a:ext>
                </a:extLst>
              </a:tr>
              <a:tr h="37280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2.2.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606" marR="4160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Spesifikasi Teknis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rodu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/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giatan</a:t>
                      </a:r>
                      <a:endParaRPr lang="en-ID" sz="7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606" marR="4160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Jelas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teknis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Proses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roduk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/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laksana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giat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inpiratif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(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barang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/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Jas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)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bis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menguna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i="1" dirty="0">
                          <a:solidFill>
                            <a:schemeClr val="bg1"/>
                          </a:solidFill>
                          <a:effectLst/>
                        </a:rPr>
                        <a:t>Flowchart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an SOP</a:t>
                      </a:r>
                      <a:endParaRPr lang="en-ID" sz="7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606" marR="4160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32485583"/>
                  </a:ext>
                </a:extLst>
              </a:tr>
              <a:tr h="412481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2.3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606" marR="4160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Kebaharu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rodu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/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giatan</a:t>
                      </a:r>
                      <a:endParaRPr lang="en-ID" sz="7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606" marR="4160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Jelas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tingkat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baharu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rodu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/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giat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inpiratif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i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banding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eng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rodu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giat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telah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ad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sekarang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(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Originall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Pengembangan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atau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niru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ar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inova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sudah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ad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)</a:t>
                      </a:r>
                      <a:endParaRPr lang="en-ID" sz="7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1606" marR="4160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99608341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939925119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47000">
              <a:srgbClr val="00B0F0"/>
            </a:gs>
            <a:gs pos="0">
              <a:schemeClr val="accent1">
                <a:lumMod val="5000"/>
                <a:lumOff val="95000"/>
              </a:schemeClr>
            </a:gs>
            <a:gs pos="65000">
              <a:schemeClr val="accent6">
                <a:lumMod val="50000"/>
                <a:lumOff val="50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89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83A4175E-F642-4EF6-917D-AFC14C836C89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599381318"/>
              </p:ext>
            </p:extLst>
          </p:nvPr>
        </p:nvGraphicFramePr>
        <p:xfrm>
          <a:off x="368278" y="506832"/>
          <a:ext cx="8559844" cy="4301620"/>
        </p:xfrm>
        <a:graphic>
          <a:graphicData uri="http://schemas.openxmlformats.org/drawingml/2006/table">
            <a:tbl>
              <a:tblPr firstRow="1" firstCol="1" bandRow="1">
                <a:tableStyleId>{CEE5C0A8-22BA-475E-88B9-26B833EDCDDB}</a:tableStyleId>
              </a:tblPr>
              <a:tblGrid>
                <a:gridCol w="652925">
                  <a:extLst>
                    <a:ext uri="{9D8B030D-6E8A-4147-A177-3AD203B41FA5}">
                      <a16:colId xmlns:a16="http://schemas.microsoft.com/office/drawing/2014/main" val="3471428240"/>
                    </a:ext>
                  </a:extLst>
                </a:gridCol>
                <a:gridCol w="2290033">
                  <a:extLst>
                    <a:ext uri="{9D8B030D-6E8A-4147-A177-3AD203B41FA5}">
                      <a16:colId xmlns:a16="http://schemas.microsoft.com/office/drawing/2014/main" val="1500081493"/>
                    </a:ext>
                  </a:extLst>
                </a:gridCol>
                <a:gridCol w="5616886">
                  <a:extLst>
                    <a:ext uri="{9D8B030D-6E8A-4147-A177-3AD203B41FA5}">
                      <a16:colId xmlns:a16="http://schemas.microsoft.com/office/drawing/2014/main" val="2367675580"/>
                    </a:ext>
                  </a:extLst>
                </a:gridCol>
              </a:tblGrid>
              <a:tr h="131870">
                <a:tc grid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b="0" dirty="0">
                          <a:solidFill>
                            <a:schemeClr val="bg1"/>
                          </a:solidFill>
                          <a:effectLst/>
                        </a:rPr>
                        <a:t>BAB III. ANALISA PRODUK/KEGIATAN INSPIRATIF (</a:t>
                      </a:r>
                      <a:r>
                        <a:rPr lang="en-US" sz="1200" b="0" dirty="0" err="1">
                          <a:solidFill>
                            <a:schemeClr val="bg1"/>
                          </a:solidFill>
                          <a:effectLst/>
                        </a:rPr>
                        <a:t>Maksimal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  <a:effectLst/>
                        </a:rPr>
                        <a:t> 1000 Kata)</a:t>
                      </a:r>
                      <a:endParaRPr lang="en-ID" sz="1200" b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17" marR="58417" marT="0" marB="0"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80001289"/>
                  </a:ext>
                </a:extLst>
              </a:tr>
              <a:tr h="270773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3..1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17" marR="58417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208280" algn="just">
                        <a:lnSpc>
                          <a:spcPct val="111000"/>
                        </a:lnSpc>
                        <a:spcAft>
                          <a:spcPts val="205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Deskripsi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rodu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/Jasa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17" marR="58417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208280" algn="just">
                        <a:lnSpc>
                          <a:spcPct val="111000"/>
                        </a:lnSpc>
                        <a:spcAft>
                          <a:spcPts val="205"/>
                        </a:spcAft>
                      </a:pPr>
                      <a:r>
                        <a:rPr lang="en-US" sz="1200">
                          <a:solidFill>
                            <a:schemeClr val="bg1"/>
                          </a:solidFill>
                          <a:effectLst/>
                        </a:rPr>
                        <a:t>Jelaskan secara singkat produk/jasa inpiratif yang dihasilkan, meliputi definisi dan fungsi produk inspiratif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17" marR="58417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5620358"/>
                  </a:ext>
                </a:extLst>
              </a:tr>
              <a:tr h="54857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>
                          <a:solidFill>
                            <a:schemeClr val="bg1"/>
                          </a:solidFill>
                          <a:effectLst/>
                        </a:rPr>
                        <a:t>3.2</a:t>
                      </a:r>
                      <a:endParaRPr lang="en-ID" sz="120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17" marR="58417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208280" algn="just">
                        <a:lnSpc>
                          <a:spcPct val="111000"/>
                        </a:lnSpc>
                        <a:spcAft>
                          <a:spcPts val="205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Manfaat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rodu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17" marR="58417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208280" algn="just">
                        <a:lnSpc>
                          <a:spcPct val="111000"/>
                        </a:lnSpc>
                        <a:spcAft>
                          <a:spcPts val="205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eskripsi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guna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rodu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inspiratif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 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untu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nggun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meliput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fung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rodu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nila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tambah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/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nila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sosial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buday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ekonom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iberi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pad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stakeholder (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Re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rj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Lingkung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rj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dunia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usah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masyarakat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ll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)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17" marR="58417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32536774"/>
                  </a:ext>
                </a:extLst>
              </a:tr>
              <a:tr h="82638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3.3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17" marR="58417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208280" algn="just">
                        <a:lnSpc>
                          <a:spcPct val="111000"/>
                        </a:lnSpc>
                        <a:spcAft>
                          <a:spcPts val="205"/>
                        </a:spcAft>
                      </a:pPr>
                      <a:r>
                        <a:rPr lang="en-US" sz="1200">
                          <a:solidFill>
                            <a:schemeClr val="bg1"/>
                          </a:solidFill>
                          <a:effectLst/>
                        </a:rPr>
                        <a:t>Kekayaan Intelektual </a:t>
                      </a:r>
                      <a:endParaRPr lang="en-ID" sz="120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17" marR="58417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208280" algn="just">
                        <a:lnSpc>
                          <a:spcPct val="111000"/>
                        </a:lnSpc>
                        <a:spcAft>
                          <a:spcPts val="205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Sebut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jenis-jenis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kaya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Intelektual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ap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sudah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iaju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a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iaju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(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sepert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Paten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Ha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Cipt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Desai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Industr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Mere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agang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Rahasi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agang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atau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lainny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); dan status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kaya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Intelektual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saat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in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(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tida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a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iaju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belum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iaju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proses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ngaju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telah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idaftar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masa uji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substan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atau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telah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granted)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jelas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alasanny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.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17" marR="58417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82231617"/>
                  </a:ext>
                </a:extLst>
              </a:tr>
              <a:tr h="131870">
                <a:tc grid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b="0" i="0" dirty="0">
                          <a:solidFill>
                            <a:schemeClr val="bg1"/>
                          </a:solidFill>
                          <a:effectLst/>
                        </a:rPr>
                        <a:t>BAB IV. ANALISIS DAMPAK PRODUK/JASA ISNPIRATIF (</a:t>
                      </a:r>
                      <a:r>
                        <a:rPr lang="en-US" sz="1200" b="0" i="0" dirty="0" err="1">
                          <a:solidFill>
                            <a:schemeClr val="bg1"/>
                          </a:solidFill>
                          <a:effectLst/>
                        </a:rPr>
                        <a:t>Maksimal</a:t>
                      </a:r>
                      <a:r>
                        <a:rPr lang="en-US" sz="1200" b="0" i="0" dirty="0">
                          <a:solidFill>
                            <a:schemeClr val="bg1"/>
                          </a:solidFill>
                          <a:effectLst/>
                        </a:rPr>
                        <a:t> 1000 Kata)</a:t>
                      </a:r>
                      <a:endParaRPr lang="en-ID" sz="1200" b="0" i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17" marR="58417" marT="0" marB="0"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747316924"/>
                  </a:ext>
                </a:extLst>
              </a:tr>
              <a:tr h="40967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4.1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17" marR="58417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Penciptaan Nilai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Tambah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17" marR="58417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>
                          <a:solidFill>
                            <a:schemeClr val="bg1"/>
                          </a:solidFill>
                          <a:effectLst/>
                        </a:rPr>
                        <a:t>Jelaskan nilai tambah dari produk terhadap, sosial, budaya dan ekonomi stakeholder (Rekan kerja, Lingkungan kerja, atasan, dunia usaha dan masyarakat) 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17" marR="58417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86186117"/>
                  </a:ext>
                </a:extLst>
              </a:tr>
              <a:tr h="54857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>
                          <a:solidFill>
                            <a:schemeClr val="bg1"/>
                          </a:solidFill>
                          <a:effectLst/>
                        </a:rPr>
                        <a:t>4.2</a:t>
                      </a:r>
                      <a:endParaRPr lang="en-ID" sz="120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17" marR="58417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Kepeloporan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ay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Inspirasi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17" marR="58417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>
                          <a:solidFill>
                            <a:schemeClr val="bg1"/>
                          </a:solidFill>
                          <a:effectLst/>
                        </a:rPr>
                        <a:t>Jelaskan nilai kepeloporan anda dan produk/kegiatan yang dilakukan dalam menginspirasi pihak terkait (Stakeholder) dan sejauh mana Stakeholder dapat terpirasi dengan produk/kegiatan anda (jika ada dengan data-data kuantitaif)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17" marR="58417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460637762"/>
                  </a:ext>
                </a:extLst>
              </a:tr>
              <a:tr h="54857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4.3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17" marR="58417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Pengembang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Buday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an Nilai-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nila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bangsa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 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17" marR="58417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Jelas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r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rodu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/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giat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inspiratif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and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alam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ngembang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buday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rj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buday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organisa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buday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masyarakat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meningkat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nilai-nila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bangsa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bag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Stakeholder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417" marR="58417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4091148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862972641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47000">
              <a:srgbClr val="00B0F0"/>
            </a:gs>
            <a:gs pos="0">
              <a:schemeClr val="accent1">
                <a:lumMod val="5000"/>
                <a:lumOff val="95000"/>
              </a:schemeClr>
            </a:gs>
            <a:gs pos="65000">
              <a:schemeClr val="accent6">
                <a:lumMod val="50000"/>
                <a:lumOff val="50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89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1A127613-A802-4090-8DC5-7411F34D8085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11949949"/>
              </p:ext>
            </p:extLst>
          </p:nvPr>
        </p:nvGraphicFramePr>
        <p:xfrm>
          <a:off x="470346" y="390341"/>
          <a:ext cx="8327290" cy="3052576"/>
        </p:xfrm>
        <a:graphic>
          <a:graphicData uri="http://schemas.openxmlformats.org/drawingml/2006/table">
            <a:tbl>
              <a:tblPr firstRow="1" firstCol="1" bandRow="1">
                <a:tableStyleId>{CEE5C0A8-22BA-475E-88B9-26B833EDCDDB}</a:tableStyleId>
              </a:tblPr>
              <a:tblGrid>
                <a:gridCol w="443733">
                  <a:extLst>
                    <a:ext uri="{9D8B030D-6E8A-4147-A177-3AD203B41FA5}">
                      <a16:colId xmlns:a16="http://schemas.microsoft.com/office/drawing/2014/main" val="2892888243"/>
                    </a:ext>
                  </a:extLst>
                </a:gridCol>
                <a:gridCol w="2053335">
                  <a:extLst>
                    <a:ext uri="{9D8B030D-6E8A-4147-A177-3AD203B41FA5}">
                      <a16:colId xmlns:a16="http://schemas.microsoft.com/office/drawing/2014/main" val="504636864"/>
                    </a:ext>
                  </a:extLst>
                </a:gridCol>
                <a:gridCol w="5830222">
                  <a:extLst>
                    <a:ext uri="{9D8B030D-6E8A-4147-A177-3AD203B41FA5}">
                      <a16:colId xmlns:a16="http://schemas.microsoft.com/office/drawing/2014/main" val="1310415219"/>
                    </a:ext>
                  </a:extLst>
                </a:gridCol>
              </a:tblGrid>
              <a:tr h="163172">
                <a:tc grid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b="0" dirty="0">
                          <a:solidFill>
                            <a:schemeClr val="bg1"/>
                          </a:solidFill>
                          <a:effectLst/>
                        </a:rPr>
                        <a:t>BAB V RENCANA PENGEMBANGAN PRODUK/KEGIATAN INPIRATIF (</a:t>
                      </a:r>
                      <a:r>
                        <a:rPr lang="en-US" sz="1200" b="0" dirty="0" err="1">
                          <a:solidFill>
                            <a:schemeClr val="bg1"/>
                          </a:solidFill>
                          <a:effectLst/>
                        </a:rPr>
                        <a:t>Maksimal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  <a:effectLst/>
                        </a:rPr>
                        <a:t> 750 Kata)</a:t>
                      </a:r>
                      <a:endParaRPr lang="en-ID" sz="1200" b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80067039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5.1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Road Map (Peta Jalan) Pengembang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rodu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/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giat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inpiratif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Jelas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gambar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ngembang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rodu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ar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tahap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awal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giat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hingg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saat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in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sudah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ilaku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;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rencan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ngembang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rodu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/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giat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a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ilaku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selam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u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atau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lima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tahu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ep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. 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05914786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>
                          <a:solidFill>
                            <a:schemeClr val="bg1"/>
                          </a:solidFill>
                          <a:effectLst/>
                        </a:rPr>
                        <a:t>5.2</a:t>
                      </a:r>
                      <a:endParaRPr lang="en-ID" sz="120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Keterlibatan SDM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Biay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Pengembang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Inovasi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</a:rPr>
                        <a:t>Jelaskan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</a:rPr>
                        <a:t>Keterlibatan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</a:rPr>
                        <a:t>Sumber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</a:rPr>
                        <a:t>Daya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</a:rPr>
                        <a:t>Manusia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</a:rPr>
                        <a:t> (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</a:rPr>
                        <a:t>tenaga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</a:rPr>
                        <a:t>kerja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</a:rPr>
                        <a:t>) yang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</a:rPr>
                        <a:t>diperlukan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</a:rPr>
                        <a:t> dan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</a:rPr>
                        <a:t>berapa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</a:rPr>
                        <a:t>Kebutuhan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</a:rPr>
                        <a:t>Biaya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</a:rPr>
                        <a:t> dan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</a:rPr>
                        <a:t>rencana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</a:rPr>
                        <a:t>sumber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</a:rPr>
                        <a:t>pendanaan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</a:rPr>
                        <a:t>.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921677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>
                          <a:solidFill>
                            <a:schemeClr val="bg1"/>
                          </a:solidFill>
                          <a:effectLst/>
                        </a:rPr>
                        <a:t>5.3</a:t>
                      </a:r>
                      <a:endParaRPr lang="en-ID" sz="120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Penerapan/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Implemeta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rodu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Inpiratif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</a:rPr>
                        <a:t>Jelaskan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</a:rPr>
                        <a:t>peluang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</a:rPr>
                        <a:t>Penerapan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</a:rPr>
                        <a:t> di Unit lain, Dinas Lain,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</a:rPr>
                        <a:t>Pemda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</a:rPr>
                        <a:t> Lain, Nasional,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</a:rPr>
                        <a:t>Permasalahan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</a:rPr>
                        <a:t>/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</a:rPr>
                        <a:t>Kelemahan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</a:rPr>
                        <a:t>dari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</a:rPr>
                        <a:t>produk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</a:rPr>
                        <a:t>Inpiratif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</a:rPr>
                        <a:t>jika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</a:rPr>
                        <a:t> di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</a:rPr>
                        <a:t>terapkan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</a:rPr>
                        <a:t>lebih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</a:rPr>
                        <a:t>luas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</a:rPr>
                        <a:t> dan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</a:rPr>
                        <a:t>jelaskan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</a:rPr>
                        <a:t> Teknik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</a:rPr>
                        <a:t>untuk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</a:rPr>
                        <a:t>memimplementasikan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</a:rPr>
                        <a:t> pada wilayah yang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</a:rPr>
                        <a:t>lebih</a:t>
                      </a:r>
                      <a:r>
                        <a:rPr lang="en-ID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ID" sz="1200" dirty="0" err="1">
                          <a:solidFill>
                            <a:schemeClr val="bg1"/>
                          </a:solidFill>
                          <a:effectLst/>
                        </a:rPr>
                        <a:t>luas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8735038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b="0" i="0" dirty="0">
                          <a:solidFill>
                            <a:schemeClr val="bg1"/>
                          </a:solidFill>
                          <a:effectLst/>
                        </a:rPr>
                        <a:t>IV.</a:t>
                      </a:r>
                      <a:endParaRPr lang="en-ID" sz="1200" b="0" i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b="0" i="0" dirty="0">
                          <a:solidFill>
                            <a:schemeClr val="bg1"/>
                          </a:solidFill>
                          <a:effectLst/>
                        </a:rPr>
                        <a:t>KESIMPULAN DAN SARAN (</a:t>
                      </a:r>
                      <a:r>
                        <a:rPr lang="en-US" sz="1200" b="0" i="0" dirty="0" err="1">
                          <a:solidFill>
                            <a:schemeClr val="bg1"/>
                          </a:solidFill>
                          <a:effectLst/>
                        </a:rPr>
                        <a:t>Maksimal</a:t>
                      </a:r>
                      <a:r>
                        <a:rPr lang="en-US" sz="1200" b="0" i="0" dirty="0">
                          <a:solidFill>
                            <a:schemeClr val="bg1"/>
                          </a:solidFill>
                          <a:effectLst/>
                        </a:rPr>
                        <a:t> 500 Kata)</a:t>
                      </a:r>
                      <a:endParaRPr lang="en-ID" sz="1200" b="0" i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20891733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6.1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Kesimpulan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Jawab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secar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ringkas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berdasar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mbahas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sebelumny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ar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alternatif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mecah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rmasalah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eng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rodu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/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giat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inspiratif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mbang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.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7875824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>
                          <a:solidFill>
                            <a:schemeClr val="bg1"/>
                          </a:solidFill>
                          <a:effectLst/>
                        </a:rPr>
                        <a:t>6.2</a:t>
                      </a:r>
                      <a:endParaRPr lang="en-ID" sz="120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>
                          <a:solidFill>
                            <a:schemeClr val="bg1"/>
                          </a:solidFill>
                          <a:effectLst/>
                        </a:rPr>
                        <a:t>Saran-Saran</a:t>
                      </a:r>
                      <a:endParaRPr lang="en-ID" sz="120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Sampai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saran-sar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pad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ihak-piha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terkait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bekena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eng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hasil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giat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inpiratif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(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re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rj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merintah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Dunia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usah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Lembaga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mberdaya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masyarakat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masyarakat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umumny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).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867299990"/>
                  </a:ext>
                </a:extLst>
              </a:tr>
              <a:tr h="0">
                <a:tc grid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DAFTAR PUSTAKA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accent5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246629450"/>
                  </a:ext>
                </a:extLst>
              </a:tr>
            </a:tbl>
          </a:graphicData>
        </a:graphic>
      </p:graphicFrame>
      <p:sp>
        <p:nvSpPr>
          <p:cNvPr id="4" name="TextBox 3">
            <a:extLst>
              <a:ext uri="{FF2B5EF4-FFF2-40B4-BE49-F238E27FC236}">
                <a16:creationId xmlns:a16="http://schemas.microsoft.com/office/drawing/2014/main" id="{D6245AE3-2275-4CDC-829A-8D4EA237A610}"/>
              </a:ext>
            </a:extLst>
          </p:cNvPr>
          <p:cNvSpPr txBox="1"/>
          <p:nvPr/>
        </p:nvSpPr>
        <p:spPr>
          <a:xfrm>
            <a:off x="1194600" y="3566665"/>
            <a:ext cx="7031182" cy="1364989"/>
          </a:xfrm>
          <a:prstGeom prst="rect">
            <a:avLst/>
          </a:prstGeom>
          <a:solidFill>
            <a:schemeClr val="accent6">
              <a:lumMod val="25000"/>
              <a:lumOff val="75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txBody>
          <a:bodyPr wrap="square">
            <a:spAutoFit/>
          </a:bodyPr>
          <a:lstStyle/>
          <a:p>
            <a:pPr marR="208280" algn="just">
              <a:lnSpc>
                <a:spcPct val="107000"/>
              </a:lnSpc>
              <a:spcAft>
                <a:spcPts val="320"/>
              </a:spcAft>
            </a:pPr>
            <a:r>
              <a:rPr lang="en-US" sz="1200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MPIRAN</a:t>
            </a:r>
            <a:r>
              <a:rPr lang="en-US" sz="12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endParaRPr lang="en-ID" sz="1200" b="1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208280" algn="just">
              <a:lnSpc>
                <a:spcPct val="107000"/>
              </a:lnSpc>
              <a:spcAft>
                <a:spcPts val="320"/>
              </a:spcAft>
            </a:pPr>
            <a:r>
              <a:rPr lang="en-US" sz="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to</a:t>
            </a:r>
            <a:r>
              <a:rPr lang="en-US" sz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duk</a:t>
            </a:r>
            <a:r>
              <a:rPr lang="en-US" sz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ovasi</a:t>
            </a:r>
            <a:r>
              <a:rPr lang="en-US" sz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/</a:t>
            </a:r>
            <a:r>
              <a:rPr lang="en-US" sz="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egiatan</a:t>
            </a:r>
            <a:r>
              <a:rPr lang="en-US" sz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spiratif</a:t>
            </a:r>
            <a:r>
              <a:rPr lang="en-ID" sz="12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to-Foto</a:t>
            </a:r>
            <a:r>
              <a:rPr lang="en-US" sz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egiatan</a:t>
            </a:r>
            <a:r>
              <a:rPr lang="en-US" sz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manfatan</a:t>
            </a:r>
            <a:r>
              <a:rPr lang="en-US" sz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ovasi</a:t>
            </a:r>
            <a:r>
              <a:rPr lang="en-US" sz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/</a:t>
            </a:r>
            <a:r>
              <a:rPr lang="en-US" sz="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egiatan</a:t>
            </a:r>
            <a:r>
              <a:rPr lang="en-US" sz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spiratif</a:t>
            </a:r>
            <a:r>
              <a:rPr lang="en-ID" sz="1200" dirty="0">
                <a:solidFill>
                  <a:schemeClr val="bg1"/>
                </a:solidFill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dan </a:t>
            </a:r>
            <a:r>
              <a:rPr lang="en-US" sz="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kumentasi</a:t>
            </a:r>
            <a:r>
              <a:rPr lang="en-US" sz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roduk</a:t>
            </a:r>
            <a:r>
              <a:rPr lang="en-US" sz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innya</a:t>
            </a:r>
            <a:r>
              <a:rPr lang="en-US" sz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Hasil </a:t>
            </a:r>
            <a:r>
              <a:rPr lang="en-US" sz="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ngujian</a:t>
            </a:r>
            <a:r>
              <a:rPr lang="en-US" sz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rtifikasi</a:t>
            </a:r>
            <a:r>
              <a:rPr lang="en-US" sz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ak</a:t>
            </a:r>
            <a:r>
              <a:rPr lang="en-US" sz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aten </a:t>
            </a:r>
            <a:r>
              <a:rPr lang="en-US" sz="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ll</a:t>
            </a:r>
            <a:r>
              <a:rPr lang="en-US" sz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ika</a:t>
            </a:r>
            <a:r>
              <a:rPr lang="en-US" sz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a</a:t>
            </a:r>
            <a:r>
              <a:rPr lang="en-US" sz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endParaRPr lang="en-ID" sz="1200" dirty="0">
              <a:solidFill>
                <a:schemeClr val="bg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20725" marR="3175" indent="-720725" algn="just">
              <a:lnSpc>
                <a:spcPct val="103000"/>
              </a:lnSpc>
              <a:spcAft>
                <a:spcPts val="265"/>
              </a:spcAft>
            </a:pPr>
            <a:endParaRPr lang="en-US" sz="120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714375" marR="3175" indent="-714375" algn="just">
              <a:lnSpc>
                <a:spcPct val="103000"/>
              </a:lnSpc>
              <a:spcAft>
                <a:spcPts val="265"/>
              </a:spcAft>
            </a:pPr>
            <a:r>
              <a:rPr lang="en-US" sz="1200" b="1" dirty="0" err="1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tatan</a:t>
            </a:r>
            <a:r>
              <a:rPr lang="en-US" sz="12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: </a:t>
            </a:r>
            <a:r>
              <a:rPr lang="en-US" sz="1200" b="1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kalah</a:t>
            </a:r>
            <a:r>
              <a:rPr lang="en-US" sz="12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b="1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tulis</a:t>
            </a:r>
            <a:r>
              <a:rPr lang="en-US" sz="12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ada </a:t>
            </a:r>
            <a:r>
              <a:rPr lang="en-US" sz="1200" b="1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ertas</a:t>
            </a:r>
            <a:r>
              <a:rPr lang="en-US" sz="12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4 </a:t>
            </a:r>
            <a:r>
              <a:rPr lang="en-US" sz="1200" b="1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ngan</a:t>
            </a:r>
            <a:r>
              <a:rPr lang="en-US" sz="12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200" b="1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uruf</a:t>
            </a:r>
            <a:r>
              <a:rPr lang="en-US" sz="12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imes New Roman font 12, </a:t>
            </a:r>
            <a:r>
              <a:rPr lang="en-US" sz="1200" b="1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pasi</a:t>
            </a:r>
            <a:r>
              <a:rPr lang="en-US" sz="12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1,5 </a:t>
            </a:r>
            <a:r>
              <a:rPr lang="en-US" sz="1200" b="1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rta</a:t>
            </a:r>
            <a:r>
              <a:rPr lang="en-US" sz="12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 margin (</a:t>
            </a:r>
            <a:r>
              <a:rPr lang="en-US" sz="1200" b="1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tas-bawah-kiri</a:t>
            </a:r>
            <a:r>
              <a:rPr lang="en-US" sz="12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asing-masing 2,5 cm dan </a:t>
            </a:r>
            <a:r>
              <a:rPr lang="en-US" sz="1200" b="1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anan</a:t>
            </a:r>
            <a:r>
              <a:rPr lang="en-US" sz="12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2 cm). </a:t>
            </a:r>
            <a:endParaRPr lang="en-ID" sz="1200" b="1" dirty="0">
              <a:solidFill>
                <a:schemeClr val="bg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244219961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47000">
              <a:srgbClr val="00B0F0"/>
            </a:gs>
            <a:gs pos="0">
              <a:schemeClr val="accent1">
                <a:lumMod val="5000"/>
                <a:lumOff val="95000"/>
              </a:schemeClr>
            </a:gs>
            <a:gs pos="65000">
              <a:schemeClr val="accent6">
                <a:lumMod val="50000"/>
                <a:lumOff val="50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89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8629B990-1493-4E12-8A0B-84DF36E1A518}"/>
              </a:ext>
            </a:extLst>
          </p:cNvPr>
          <p:cNvSpPr txBox="1"/>
          <p:nvPr/>
        </p:nvSpPr>
        <p:spPr>
          <a:xfrm>
            <a:off x="598050" y="306315"/>
            <a:ext cx="7947898" cy="342466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lvl="0" algn="ctr">
              <a:lnSpc>
                <a:spcPct val="107000"/>
              </a:lnSpc>
              <a:spcAft>
                <a:spcPts val="140"/>
              </a:spcAft>
            </a:pPr>
            <a:r>
              <a:rPr lang="en-US" sz="1600" b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ISTEMATIS PENYUSUNAN MAKALAH KATEGORI PNS </a:t>
            </a:r>
            <a:r>
              <a:rPr lang="en-US" sz="1600" b="1" i="1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FUTURE LEADER</a:t>
            </a:r>
            <a:endParaRPr lang="en-ID" sz="16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2B10660C-2BF8-4739-A0A2-3394991B880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960127603"/>
              </p:ext>
            </p:extLst>
          </p:nvPr>
        </p:nvGraphicFramePr>
        <p:xfrm>
          <a:off x="427175" y="801831"/>
          <a:ext cx="8289649" cy="4035354"/>
        </p:xfrm>
        <a:graphic>
          <a:graphicData uri="http://schemas.openxmlformats.org/drawingml/2006/table">
            <a:tbl>
              <a:tblPr firstRow="1" firstCol="1" bandRow="1">
                <a:tableStyleId>{CEE5C0A8-22BA-475E-88B9-26B833EDCDDB}</a:tableStyleId>
              </a:tblPr>
              <a:tblGrid>
                <a:gridCol w="411025">
                  <a:extLst>
                    <a:ext uri="{9D8B030D-6E8A-4147-A177-3AD203B41FA5}">
                      <a16:colId xmlns:a16="http://schemas.microsoft.com/office/drawing/2014/main" val="1959321515"/>
                    </a:ext>
                  </a:extLst>
                </a:gridCol>
                <a:gridCol w="2369127">
                  <a:extLst>
                    <a:ext uri="{9D8B030D-6E8A-4147-A177-3AD203B41FA5}">
                      <a16:colId xmlns:a16="http://schemas.microsoft.com/office/drawing/2014/main" val="407710195"/>
                    </a:ext>
                  </a:extLst>
                </a:gridCol>
                <a:gridCol w="5509497">
                  <a:extLst>
                    <a:ext uri="{9D8B030D-6E8A-4147-A177-3AD203B41FA5}">
                      <a16:colId xmlns:a16="http://schemas.microsoft.com/office/drawing/2014/main" val="2197525471"/>
                    </a:ext>
                  </a:extLst>
                </a:gridCol>
              </a:tblGrid>
              <a:tr h="196824">
                <a:tc grid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b="0" dirty="0">
                          <a:solidFill>
                            <a:schemeClr val="bg1"/>
                          </a:solidFill>
                          <a:effectLst/>
                        </a:rPr>
                        <a:t>DAFTAR ISI</a:t>
                      </a:r>
                      <a:endParaRPr lang="en-ID" sz="1200" b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086" marR="58086" marT="0" marB="0"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726635178"/>
                  </a:ext>
                </a:extLst>
              </a:tr>
              <a:tr h="196824">
                <a:tc grid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b="0" dirty="0">
                          <a:solidFill>
                            <a:schemeClr val="bg1"/>
                          </a:solidFill>
                          <a:effectLst/>
                        </a:rPr>
                        <a:t>LEMBAR PENGESAHAN</a:t>
                      </a:r>
                      <a:endParaRPr lang="en-ID" sz="1200" b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086" marR="58086" marT="0" marB="0"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870059786"/>
                  </a:ext>
                </a:extLst>
              </a:tr>
              <a:tr h="723893"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Ringkas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Eksekutif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(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Maksimal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500 Kata)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086" marR="58086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Jelas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secar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ringkas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terkait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eng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ary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/Ide/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gagas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yang di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apar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ar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aspe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manajeme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pemimpin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artisipa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masyarakat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ampakny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terhadap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mbangun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pimpin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i masa yang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a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atang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. 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086" marR="58086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9320353"/>
                  </a:ext>
                </a:extLst>
              </a:tr>
              <a:tr h="196824">
                <a:tc grid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b="0" u="none" dirty="0">
                          <a:solidFill>
                            <a:schemeClr val="bg1"/>
                          </a:solidFill>
                          <a:effectLst/>
                        </a:rPr>
                        <a:t>BAB I.   PENDAHULUAN (</a:t>
                      </a:r>
                      <a:r>
                        <a:rPr lang="en-US" sz="1200" b="0" u="none" dirty="0" err="1">
                          <a:solidFill>
                            <a:schemeClr val="bg1"/>
                          </a:solidFill>
                          <a:effectLst/>
                        </a:rPr>
                        <a:t>Maksimal</a:t>
                      </a:r>
                      <a:r>
                        <a:rPr lang="en-US" sz="1200" b="0" u="none" dirty="0">
                          <a:solidFill>
                            <a:schemeClr val="bg1"/>
                          </a:solidFill>
                          <a:effectLst/>
                        </a:rPr>
                        <a:t> 1000 Kata)</a:t>
                      </a:r>
                      <a:endParaRPr lang="en-ID" sz="1200" b="0" u="none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086" marR="58086" marT="0" marB="0"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919383753"/>
                  </a:ext>
                </a:extLst>
              </a:tr>
              <a:tr h="87015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1.1.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086" marR="58086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Latar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Belakang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086" marR="58086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Jelas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latar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belakang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mendasar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ide/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gagas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rluny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terobobos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reativitas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inova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pemimpin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rmasalah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atau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ndal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ihadap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saat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in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redik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rkembang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pemimpin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ep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. (Jika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ad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idukung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eng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ata-data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uantititatif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)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086" marR="58086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30197201"/>
                  </a:ext>
                </a:extLst>
              </a:tr>
              <a:tr h="61132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>
                          <a:solidFill>
                            <a:schemeClr val="bg1"/>
                          </a:solidFill>
                          <a:effectLst/>
                        </a:rPr>
                        <a:t>1.2</a:t>
                      </a:r>
                      <a:endParaRPr lang="en-ID" sz="120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086" marR="58086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>
                          <a:solidFill>
                            <a:schemeClr val="bg1"/>
                          </a:solidFill>
                          <a:effectLst/>
                        </a:rPr>
                        <a:t>Identifikasi dan perumusan Masalah</a:t>
                      </a:r>
                      <a:endParaRPr lang="en-ID" sz="120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086" marR="58086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Jelas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beberap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rmasalah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muncul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ihadap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saat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in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mungkin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rmasalah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pimpin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i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birokra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i masa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ep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tuntut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semaki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tingg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ar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masyarakat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terhadap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pemimpin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birokra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.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086" marR="58086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789144944"/>
                  </a:ext>
                </a:extLst>
              </a:tr>
              <a:tr h="40407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>
                          <a:solidFill>
                            <a:schemeClr val="bg1"/>
                          </a:solidFill>
                          <a:effectLst/>
                        </a:rPr>
                        <a:t>1.3</a:t>
                      </a:r>
                      <a:endParaRPr lang="en-ID" sz="120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086" marR="58086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>
                          <a:solidFill>
                            <a:schemeClr val="bg1"/>
                          </a:solidFill>
                          <a:effectLst/>
                        </a:rPr>
                        <a:t>Tujuan</a:t>
                      </a:r>
                      <a:endParaRPr lang="en-ID" sz="120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086" marR="58086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Jelas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tuju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i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lakuka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inova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tersebut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alam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menyelesai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rmasalahan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086" marR="58086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54504951"/>
                  </a:ext>
                </a:extLst>
              </a:tr>
              <a:tr h="43137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>
                          <a:solidFill>
                            <a:schemeClr val="bg1"/>
                          </a:solidFill>
                          <a:effectLst/>
                        </a:rPr>
                        <a:t>1.4</a:t>
                      </a:r>
                      <a:endParaRPr lang="en-ID" sz="120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086" marR="58086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Manfaat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086" marR="58086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Jelas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Manfaat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ar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ide/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gagas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/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inova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pemimpin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bag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ir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sendir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alam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kerja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lingkung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rj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merintah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masyarakat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ll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086" marR="58086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89447433"/>
                  </a:ext>
                </a:extLst>
              </a:tr>
              <a:tr h="404073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>
                          <a:solidFill>
                            <a:schemeClr val="bg1"/>
                          </a:solidFill>
                          <a:effectLst/>
                        </a:rPr>
                        <a:t>1.5</a:t>
                      </a:r>
                      <a:endParaRPr lang="en-ID" sz="120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086" marR="58086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>
                          <a:solidFill>
                            <a:schemeClr val="bg1"/>
                          </a:solidFill>
                          <a:effectLst/>
                        </a:rPr>
                        <a:t>Output/Keluaran</a:t>
                      </a:r>
                      <a:endParaRPr lang="en-ID" sz="120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086" marR="58086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Sebut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luar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ar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ide/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gagas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atau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inova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tersebut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(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Sistem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Model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bija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rototife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rodu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ll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)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58086" marR="58086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2012703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470364353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47000">
              <a:srgbClr val="00B0F0"/>
            </a:gs>
            <a:gs pos="0">
              <a:schemeClr val="accent1">
                <a:lumMod val="5000"/>
                <a:lumOff val="95000"/>
              </a:schemeClr>
            </a:gs>
            <a:gs pos="65000">
              <a:schemeClr val="accent6">
                <a:lumMod val="50000"/>
                <a:lumOff val="50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89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6EC4C436-355A-4FCA-9C62-0968ADFC11E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51580352"/>
              </p:ext>
            </p:extLst>
          </p:nvPr>
        </p:nvGraphicFramePr>
        <p:xfrm>
          <a:off x="522143" y="570046"/>
          <a:ext cx="8099714" cy="4230553"/>
        </p:xfrm>
        <a:graphic>
          <a:graphicData uri="http://schemas.openxmlformats.org/drawingml/2006/table">
            <a:tbl>
              <a:tblPr firstRow="1" firstCol="1" bandRow="1">
                <a:tableStyleId>{CEE5C0A8-22BA-475E-88B9-26B833EDCDDB}</a:tableStyleId>
              </a:tblPr>
              <a:tblGrid>
                <a:gridCol w="609782">
                  <a:extLst>
                    <a:ext uri="{9D8B030D-6E8A-4147-A177-3AD203B41FA5}">
                      <a16:colId xmlns:a16="http://schemas.microsoft.com/office/drawing/2014/main" val="1436789230"/>
                    </a:ext>
                  </a:extLst>
                </a:gridCol>
                <a:gridCol w="2499028">
                  <a:extLst>
                    <a:ext uri="{9D8B030D-6E8A-4147-A177-3AD203B41FA5}">
                      <a16:colId xmlns:a16="http://schemas.microsoft.com/office/drawing/2014/main" val="3489867054"/>
                    </a:ext>
                  </a:extLst>
                </a:gridCol>
                <a:gridCol w="4990904">
                  <a:extLst>
                    <a:ext uri="{9D8B030D-6E8A-4147-A177-3AD203B41FA5}">
                      <a16:colId xmlns:a16="http://schemas.microsoft.com/office/drawing/2014/main" val="1427584654"/>
                    </a:ext>
                  </a:extLst>
                </a:gridCol>
              </a:tblGrid>
              <a:tr h="404622">
                <a:tc gridSpan="3">
                  <a:txBody>
                    <a:bodyPr/>
                    <a:lstStyle/>
                    <a:p>
                      <a:pPr marL="2868613" indent="-2868613"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b="0" dirty="0">
                          <a:solidFill>
                            <a:schemeClr val="bg1"/>
                          </a:solidFill>
                          <a:effectLst/>
                        </a:rPr>
                        <a:t>BAB II.  STUDI KASUS KEPEMIMPINAN (</a:t>
                      </a:r>
                      <a:r>
                        <a:rPr lang="en-US" sz="1200" b="0" dirty="0" err="1">
                          <a:solidFill>
                            <a:schemeClr val="bg1"/>
                          </a:solidFill>
                          <a:effectLst/>
                        </a:rPr>
                        <a:t>Berkaitan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b="0" dirty="0" err="1">
                          <a:solidFill>
                            <a:schemeClr val="bg1"/>
                          </a:solidFill>
                          <a:effectLst/>
                        </a:rPr>
                        <a:t>dengan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b="0" dirty="0" err="1">
                          <a:solidFill>
                            <a:schemeClr val="bg1"/>
                          </a:solidFill>
                          <a:effectLst/>
                        </a:rPr>
                        <a:t>Judul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  <a:effectLst/>
                        </a:rPr>
                        <a:t> dan </a:t>
                      </a:r>
                      <a:r>
                        <a:rPr lang="en-US" sz="1200" b="0" dirty="0" err="1">
                          <a:solidFill>
                            <a:schemeClr val="bg1"/>
                          </a:solidFill>
                          <a:effectLst/>
                        </a:rPr>
                        <a:t>pengalaman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b="0" dirty="0" err="1">
                          <a:solidFill>
                            <a:schemeClr val="bg1"/>
                          </a:solidFill>
                          <a:effectLst/>
                        </a:rPr>
                        <a:t>terbaik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  <a:effectLst/>
                        </a:rPr>
                        <a:t> yang </a:t>
                      </a:r>
                      <a:r>
                        <a:rPr lang="en-US" sz="1200" b="0" dirty="0" err="1">
                          <a:solidFill>
                            <a:schemeClr val="bg1"/>
                          </a:solidFill>
                          <a:effectLst/>
                        </a:rPr>
                        <a:t>telah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b="0" dirty="0" err="1">
                          <a:solidFill>
                            <a:schemeClr val="bg1"/>
                          </a:solidFill>
                          <a:effectLst/>
                        </a:rPr>
                        <a:t>dilakukan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  <a:effectLst/>
                        </a:rPr>
                        <a:t>)         </a:t>
                      </a:r>
                      <a:r>
                        <a:rPr lang="en-US" sz="1200" b="0" dirty="0" err="1">
                          <a:solidFill>
                            <a:schemeClr val="bg1"/>
                          </a:solidFill>
                          <a:effectLst/>
                        </a:rPr>
                        <a:t>Maksimal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  <a:effectLst/>
                        </a:rPr>
                        <a:t>  1500 Kata.</a:t>
                      </a:r>
                      <a:endParaRPr lang="en-ID" sz="1200" b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467" marR="63467" marT="0" marB="0"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27528323"/>
                  </a:ext>
                </a:extLst>
              </a:tr>
              <a:tr h="63200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2.1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467" marR="63467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208280" algn="just">
                        <a:lnSpc>
                          <a:spcPct val="111000"/>
                        </a:lnSpc>
                        <a:spcAft>
                          <a:spcPts val="205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Analisis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Lingkung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(SWOT </a:t>
                      </a:r>
                      <a:r>
                        <a:rPr lang="en-US" sz="1200" i="1" dirty="0">
                          <a:solidFill>
                            <a:schemeClr val="bg1"/>
                          </a:solidFill>
                          <a:effectLst/>
                        </a:rPr>
                        <a:t>Analysis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)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467" marR="63467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Laku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analisis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lingkung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eng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analisis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SWOT (</a:t>
                      </a:r>
                      <a:r>
                        <a:rPr lang="en-US" sz="1200" i="1" dirty="0" err="1">
                          <a:solidFill>
                            <a:schemeClr val="bg1"/>
                          </a:solidFill>
                          <a:effectLst/>
                        </a:rPr>
                        <a:t>Strenght</a:t>
                      </a:r>
                      <a:r>
                        <a:rPr lang="en-US" sz="1200" i="1" dirty="0">
                          <a:solidFill>
                            <a:schemeClr val="bg1"/>
                          </a:solidFill>
                          <a:effectLst/>
                        </a:rPr>
                        <a:t>, Weakness, Opportunity, </a:t>
                      </a:r>
                      <a:r>
                        <a:rPr lang="en-US" sz="1200" i="1" dirty="0" err="1">
                          <a:solidFill>
                            <a:schemeClr val="bg1"/>
                          </a:solidFill>
                          <a:effectLst/>
                        </a:rPr>
                        <a:t>Threath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).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Tentu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osi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saat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in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an strategi yang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apat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ilaku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(pada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asus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pemimpin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)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467" marR="63467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69709399"/>
                  </a:ext>
                </a:extLst>
              </a:tr>
              <a:tr h="404622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2.2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467" marR="63467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208280" algn="just">
                        <a:lnSpc>
                          <a:spcPct val="111000"/>
                        </a:lnSpc>
                        <a:spcAft>
                          <a:spcPts val="205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Pengambilan Keputusan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467" marR="63467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Jelas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car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ngambil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putus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ar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mungkin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berbaga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alternatif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beberap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tahap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kerjaan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467" marR="63467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510609561"/>
                  </a:ext>
                </a:extLst>
              </a:tr>
              <a:tr h="61215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2.3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467" marR="63467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208280" algn="just">
                        <a:lnSpc>
                          <a:spcPct val="111000"/>
                        </a:lnSpc>
                        <a:spcAft>
                          <a:spcPts val="205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Model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omunika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an system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Informasi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467" marR="63467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Jelas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car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mengkomunikasi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/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menyampai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hasil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putus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pad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stakeholder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terkait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jelas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system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informa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iguna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ll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467" marR="63467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579644325"/>
                  </a:ext>
                </a:extLst>
              </a:tr>
              <a:tr h="418156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2.4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467" marR="63467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208280" algn="l">
                        <a:lnSpc>
                          <a:spcPct val="111000"/>
                        </a:lnSpc>
                        <a:spcAft>
                          <a:spcPts val="205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Pengelolaan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ngembang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SDM 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467" marR="63467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Jelas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car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mengelol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sumber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ay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manusi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(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bawah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atas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re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rj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masyarakat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ll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)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467" marR="63467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236053660"/>
                  </a:ext>
                </a:extLst>
              </a:tr>
              <a:tr h="61215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2.5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467" marR="63467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208280" algn="l">
                        <a:lnSpc>
                          <a:spcPct val="111000"/>
                        </a:lnSpc>
                        <a:spcAft>
                          <a:spcPts val="205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Keterlibatan/Partisipasi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iha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lain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467" marR="63467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Jelas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respo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artisipa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iha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lain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car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meningkat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artisipa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iha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lai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termasu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masyarakat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untu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terlibat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alam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proses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mbangun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(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kerja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)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467" marR="63467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426628133"/>
                  </a:ext>
                </a:extLst>
              </a:tr>
              <a:tr h="47198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2.6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467" marR="63467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208280" algn="l">
                        <a:lnSpc>
                          <a:spcPct val="111000"/>
                        </a:lnSpc>
                        <a:spcAft>
                          <a:spcPts val="205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Teknologi/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Inova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igunakan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467" marR="63467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Jelas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teknolog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atau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inova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iguna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untu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menyelesai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kerja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bagaiman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sistem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rj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/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unju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rj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/Langkah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rj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.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467" marR="63467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96014238"/>
                  </a:ext>
                </a:extLst>
              </a:tr>
              <a:tr h="202884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2.7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467" marR="63467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208280" algn="just">
                        <a:lnSpc>
                          <a:spcPct val="111000"/>
                        </a:lnSpc>
                        <a:spcAft>
                          <a:spcPts val="205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Hasil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rj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/Output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rja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467" marR="63467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Jelas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Output/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hasil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ar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kerja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467" marR="63467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52906813"/>
                  </a:ext>
                </a:extLst>
              </a:tr>
              <a:tr h="47198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2.8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467" marR="63467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208280" algn="just">
                        <a:lnSpc>
                          <a:spcPct val="111000"/>
                        </a:lnSpc>
                        <a:spcAft>
                          <a:spcPts val="205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Dampak Hasil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kerjaan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467" marR="63467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Jelas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ampa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hasil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kerja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terhadap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sosial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buday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ekonom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masyarakat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bija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inerj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gawa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layan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ubli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ll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)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3467" marR="63467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21608273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2316870829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47000">
              <a:srgbClr val="00B0F0"/>
            </a:gs>
            <a:gs pos="0">
              <a:schemeClr val="accent1">
                <a:lumMod val="5000"/>
                <a:lumOff val="95000"/>
              </a:schemeClr>
            </a:gs>
            <a:gs pos="65000">
              <a:schemeClr val="accent6">
                <a:lumMod val="50000"/>
                <a:lumOff val="50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89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able 3">
            <a:extLst>
              <a:ext uri="{FF2B5EF4-FFF2-40B4-BE49-F238E27FC236}">
                <a16:creationId xmlns:a16="http://schemas.microsoft.com/office/drawing/2014/main" id="{E9404DA7-957F-4B7E-B3BF-F9DACFE3FF92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561852155"/>
              </p:ext>
            </p:extLst>
          </p:nvPr>
        </p:nvGraphicFramePr>
        <p:xfrm>
          <a:off x="439161" y="244843"/>
          <a:ext cx="8455456" cy="4653814"/>
        </p:xfrm>
        <a:graphic>
          <a:graphicData uri="http://schemas.openxmlformats.org/drawingml/2006/table">
            <a:tbl>
              <a:tblPr firstRow="1" firstCol="1" bandRow="1">
                <a:tableStyleId>{CEE5C0A8-22BA-475E-88B9-26B833EDCDDB}</a:tableStyleId>
              </a:tblPr>
              <a:tblGrid>
                <a:gridCol w="439466">
                  <a:extLst>
                    <a:ext uri="{9D8B030D-6E8A-4147-A177-3AD203B41FA5}">
                      <a16:colId xmlns:a16="http://schemas.microsoft.com/office/drawing/2014/main" val="991745385"/>
                    </a:ext>
                  </a:extLst>
                </a:gridCol>
                <a:gridCol w="1911661">
                  <a:extLst>
                    <a:ext uri="{9D8B030D-6E8A-4147-A177-3AD203B41FA5}">
                      <a16:colId xmlns:a16="http://schemas.microsoft.com/office/drawing/2014/main" val="448616641"/>
                    </a:ext>
                  </a:extLst>
                </a:gridCol>
                <a:gridCol w="6104329">
                  <a:extLst>
                    <a:ext uri="{9D8B030D-6E8A-4147-A177-3AD203B41FA5}">
                      <a16:colId xmlns:a16="http://schemas.microsoft.com/office/drawing/2014/main" val="1614496287"/>
                    </a:ext>
                  </a:extLst>
                </a:gridCol>
              </a:tblGrid>
              <a:tr h="194766">
                <a:tc grid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b="0" dirty="0">
                          <a:solidFill>
                            <a:schemeClr val="bg1"/>
                          </a:solidFill>
                          <a:effectLst/>
                        </a:rPr>
                        <a:t>BAB III. KONSEP/GAGASAN KEPEMIMIAN DI MASA DEPAN ( </a:t>
                      </a:r>
                      <a:r>
                        <a:rPr lang="en-US" sz="1200" b="0" dirty="0" err="1">
                          <a:solidFill>
                            <a:schemeClr val="bg1"/>
                          </a:solidFill>
                          <a:effectLst/>
                        </a:rPr>
                        <a:t>Maksimal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  <a:effectLst/>
                        </a:rPr>
                        <a:t> 1500 Kata)</a:t>
                      </a:r>
                      <a:endParaRPr lang="en-ID" sz="1200" b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6" marR="42896" marT="0" marB="0"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245790865"/>
                  </a:ext>
                </a:extLst>
              </a:tr>
              <a:tr h="39984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3.1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6" marR="42896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Vi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mi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pemimpin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epan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6" marR="42896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20828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eng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mempertimban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ondi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ad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saat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in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cenderung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i masa yang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a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atang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jelas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vi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mi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pemimpin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i masa yang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a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atang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.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6" marR="42896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46258338"/>
                  </a:ext>
                </a:extLst>
              </a:tr>
              <a:tr h="60492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3.2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6" marR="42896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Gaya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pemimpin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masa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epan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6" marR="42896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20828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Jelas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gay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pemimpin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i masa yang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a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atang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ikait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eng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gay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pemimpin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masa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lalu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masa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sekarang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cenderung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tuntut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pemimpin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i masa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a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atang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6" marR="42896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866736211"/>
                  </a:ext>
                </a:extLst>
              </a:tr>
              <a:tr h="41322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3.3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6" marR="42896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208280" algn="just">
                        <a:lnSpc>
                          <a:spcPct val="111000"/>
                        </a:lnSpc>
                        <a:spcAft>
                          <a:spcPts val="205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Pengembang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oten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SDM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6" marR="42896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20828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Jelas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ntingny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SDM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alam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pemimpin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menggal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oten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SDM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ompeten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SDM, Pola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ikir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SDM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ay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saing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SDM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ll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6" marR="42896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40042030"/>
                  </a:ext>
                </a:extLst>
              </a:tr>
              <a:tr h="41322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3.4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6" marR="42896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208280" algn="just">
                        <a:lnSpc>
                          <a:spcPct val="111000"/>
                        </a:lnSpc>
                        <a:spcAft>
                          <a:spcPts val="205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Pengembang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oten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SDA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6" marR="42896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208280">
                        <a:lnSpc>
                          <a:spcPct val="107000"/>
                        </a:lnSpc>
                        <a:spcAft>
                          <a:spcPts val="800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Jelas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ntingny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SDA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alam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mbangun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tekni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nggali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manfaat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SDA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unggul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SDA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ay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saing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SDA, Nilai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Tambah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ll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.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6" marR="42896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34394806"/>
                  </a:ext>
                </a:extLst>
              </a:tr>
              <a:tr h="60492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3.5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6" marR="42896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208280" algn="just">
                        <a:lnSpc>
                          <a:spcPct val="111000"/>
                        </a:lnSpc>
                        <a:spcAft>
                          <a:spcPts val="205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Mengelola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rubah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6" marR="42896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Jelas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car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mengelol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mengantisipa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nderung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terjadiny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rubah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bai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rubah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teknolog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infoma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teknolog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roduk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rubah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lingkung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rubah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social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buday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tuntut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masyarakat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rubah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lainnya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6" marR="42896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947959"/>
                  </a:ext>
                </a:extLst>
              </a:tr>
              <a:tr h="399846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3.6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6" marR="42896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208280" algn="just">
                        <a:lnSpc>
                          <a:spcPct val="111000"/>
                        </a:lnSpc>
                        <a:spcAft>
                          <a:spcPts val="205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Partisipasi Stakeholder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6" marR="42896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15"/>
                        </a:spcAft>
                        <a:tabLst>
                          <a:tab pos="3876040" algn="r"/>
                        </a:tabLs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Jelas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ntingny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artisipa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car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meningkat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tingkat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artisipa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ar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setiap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stakeholder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alam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mendukung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proses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mbangun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i masa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atang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6" marR="42896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908100366"/>
                  </a:ext>
                </a:extLst>
              </a:tr>
              <a:tr h="60492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3.7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6" marR="42896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208280" algn="just">
                        <a:lnSpc>
                          <a:spcPct val="111000"/>
                        </a:lnSpc>
                        <a:spcAft>
                          <a:spcPts val="205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Pengambilan Keputusan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6" marR="42896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15"/>
                        </a:spcAft>
                        <a:tabLst>
                          <a:tab pos="3876040" algn="r"/>
                        </a:tabLs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Jelas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ntingny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ngambil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putus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tepat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Teknik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alam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mengambil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putus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ihadap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eng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berbaga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aternatif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berbaga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peting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alam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situa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rubah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cukup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cepat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putus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harus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seger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iambil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.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6" marR="42896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73828346"/>
                  </a:ext>
                </a:extLst>
              </a:tr>
              <a:tr h="413220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3.8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6" marR="42896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208280" algn="just">
                        <a:lnSpc>
                          <a:spcPct val="111000"/>
                        </a:lnSpc>
                        <a:spcAft>
                          <a:spcPts val="205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Orientasi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pemimpi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alam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mbangun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6" marR="42896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15"/>
                        </a:spcAft>
                        <a:tabLst>
                          <a:tab pos="3876040" algn="r"/>
                        </a:tabLs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Jelas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orientas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pemimpin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alam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mbangun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ep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bai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mbangun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SDM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maupu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mbangun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fisi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lainny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.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6" marR="42896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365451439"/>
                  </a:ext>
                </a:extLst>
              </a:tr>
              <a:tr h="604924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3.9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6" marR="42896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208280" algn="just">
                        <a:lnSpc>
                          <a:spcPct val="111000"/>
                        </a:lnSpc>
                        <a:spcAft>
                          <a:spcPts val="205"/>
                        </a:spcAft>
                      </a:pP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Road Map (Peta Jalan)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pemimpin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6" marR="42896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15"/>
                        </a:spcAft>
                        <a:tabLst>
                          <a:tab pos="3876040" algn="r"/>
                        </a:tabLst>
                      </a:pP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Jelas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gambar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ngembang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ir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sebaga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mimpi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ar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awal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jadi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PNS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hingg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sekarang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sudah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ilakuk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rencan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ngembang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arier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untu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pemimpin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ke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epan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dalam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jangk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pendek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menengah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dan </a:t>
                      </a:r>
                      <a:r>
                        <a:rPr lang="en-US" sz="1200" dirty="0" err="1">
                          <a:solidFill>
                            <a:schemeClr val="bg1"/>
                          </a:solidFill>
                          <a:effectLst/>
                        </a:rPr>
                        <a:t>jangka</a:t>
                      </a:r>
                      <a:r>
                        <a:rPr lang="en-US" sz="1200" dirty="0">
                          <a:solidFill>
                            <a:schemeClr val="bg1"/>
                          </a:solidFill>
                          <a:effectLst/>
                        </a:rPr>
                        <a:t> Panjang.  </a:t>
                      </a:r>
                      <a:endParaRPr lang="en-ID" sz="12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2896" marR="42896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64419889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43921475"/>
      </p:ext>
    </p:extLst>
  </p:cSld>
  <p:clrMapOvr>
    <a:masterClrMapping/>
  </p:clrMapOvr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47000">
              <a:srgbClr val="00B0F0"/>
            </a:gs>
            <a:gs pos="0">
              <a:schemeClr val="accent1">
                <a:lumMod val="5000"/>
                <a:lumOff val="95000"/>
              </a:schemeClr>
            </a:gs>
            <a:gs pos="65000">
              <a:schemeClr val="accent6">
                <a:lumMod val="50000"/>
                <a:lumOff val="50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89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F3ED3332-BC92-4B9A-BDDA-36FC7F12B7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12702216"/>
              </p:ext>
            </p:extLst>
          </p:nvPr>
        </p:nvGraphicFramePr>
        <p:xfrm>
          <a:off x="646993" y="595021"/>
          <a:ext cx="7850014" cy="1400032"/>
        </p:xfrm>
        <a:graphic>
          <a:graphicData uri="http://schemas.openxmlformats.org/drawingml/2006/table">
            <a:tbl>
              <a:tblPr firstRow="1" firstCol="1" bandRow="1">
                <a:tableStyleId>{CEE5C0A8-22BA-475E-88B9-26B833EDCDDB}</a:tableStyleId>
              </a:tblPr>
              <a:tblGrid>
                <a:gridCol w="815502">
                  <a:extLst>
                    <a:ext uri="{9D8B030D-6E8A-4147-A177-3AD203B41FA5}">
                      <a16:colId xmlns:a16="http://schemas.microsoft.com/office/drawing/2014/main" val="1981976220"/>
                    </a:ext>
                  </a:extLst>
                </a:gridCol>
                <a:gridCol w="1422325">
                  <a:extLst>
                    <a:ext uri="{9D8B030D-6E8A-4147-A177-3AD203B41FA5}">
                      <a16:colId xmlns:a16="http://schemas.microsoft.com/office/drawing/2014/main" val="2379956969"/>
                    </a:ext>
                  </a:extLst>
                </a:gridCol>
                <a:gridCol w="5612187">
                  <a:extLst>
                    <a:ext uri="{9D8B030D-6E8A-4147-A177-3AD203B41FA5}">
                      <a16:colId xmlns:a16="http://schemas.microsoft.com/office/drawing/2014/main" val="937218836"/>
                    </a:ext>
                  </a:extLst>
                </a:gridCol>
              </a:tblGrid>
              <a:tr h="206215"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b="0" dirty="0">
                          <a:solidFill>
                            <a:schemeClr val="bg1"/>
                          </a:solidFill>
                          <a:effectLst/>
                        </a:rPr>
                        <a:t>BAB IV.</a:t>
                      </a:r>
                      <a:endParaRPr lang="en-ID" sz="1200" b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b="0" dirty="0">
                          <a:solidFill>
                            <a:schemeClr val="bg1"/>
                          </a:solidFill>
                          <a:effectLst/>
                        </a:rPr>
                        <a:t>KESIMPULAN DAN SARAN (</a:t>
                      </a:r>
                      <a:r>
                        <a:rPr lang="en-US" sz="1200" b="0" dirty="0" err="1">
                          <a:solidFill>
                            <a:schemeClr val="bg1"/>
                          </a:solidFill>
                          <a:effectLst/>
                        </a:rPr>
                        <a:t>maksimal</a:t>
                      </a:r>
                      <a:r>
                        <a:rPr lang="en-US" sz="1200" b="0" dirty="0">
                          <a:solidFill>
                            <a:schemeClr val="bg1"/>
                          </a:solidFill>
                          <a:effectLst/>
                        </a:rPr>
                        <a:t> 500 kata)</a:t>
                      </a:r>
                      <a:endParaRPr lang="en-ID" sz="1200" b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47959917"/>
                  </a:ext>
                </a:extLst>
              </a:tr>
              <a:tr h="49380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</a:rPr>
                        <a:t>4.1</a:t>
                      </a:r>
                      <a:endParaRPr lang="en-ID" sz="14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</a:rPr>
                        <a:t>Kesimpulan</a:t>
                      </a:r>
                      <a:endParaRPr lang="en-ID" sz="14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400" dirty="0" err="1">
                          <a:solidFill>
                            <a:schemeClr val="bg1"/>
                          </a:solidFill>
                          <a:effectLst/>
                        </a:rPr>
                        <a:t>Jawaban</a:t>
                      </a: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bg1"/>
                          </a:solidFill>
                          <a:effectLst/>
                        </a:rPr>
                        <a:t>secara</a:t>
                      </a: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bg1"/>
                          </a:solidFill>
                          <a:effectLst/>
                        </a:rPr>
                        <a:t>ringkas</a:t>
                      </a: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bg1"/>
                          </a:solidFill>
                          <a:effectLst/>
                        </a:rPr>
                        <a:t>berdasarkan</a:t>
                      </a: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bg1"/>
                          </a:solidFill>
                          <a:effectLst/>
                        </a:rPr>
                        <a:t>pembahasan</a:t>
                      </a: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bg1"/>
                          </a:solidFill>
                          <a:effectLst/>
                        </a:rPr>
                        <a:t>studi</a:t>
                      </a: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bg1"/>
                          </a:solidFill>
                          <a:effectLst/>
                        </a:rPr>
                        <a:t>kasus</a:t>
                      </a: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</a:rPr>
                        <a:t> dan </a:t>
                      </a:r>
                      <a:r>
                        <a:rPr lang="en-US" sz="1400" dirty="0" err="1">
                          <a:solidFill>
                            <a:schemeClr val="bg1"/>
                          </a:solidFill>
                          <a:effectLst/>
                        </a:rPr>
                        <a:t>konsep</a:t>
                      </a: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</a:rPr>
                        <a:t>/</a:t>
                      </a:r>
                      <a:r>
                        <a:rPr lang="en-US" sz="1400" dirty="0" err="1">
                          <a:solidFill>
                            <a:schemeClr val="bg1"/>
                          </a:solidFill>
                          <a:effectLst/>
                        </a:rPr>
                        <a:t>gagasan</a:t>
                      </a: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bg1"/>
                          </a:solidFill>
                          <a:effectLst/>
                        </a:rPr>
                        <a:t>kepemimpinan</a:t>
                      </a: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</a:rPr>
                        <a:t> masa </a:t>
                      </a:r>
                      <a:r>
                        <a:rPr lang="en-US" sz="1400" dirty="0" err="1">
                          <a:solidFill>
                            <a:schemeClr val="bg1"/>
                          </a:solidFill>
                          <a:effectLst/>
                        </a:rPr>
                        <a:t>depan</a:t>
                      </a: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</a:rPr>
                        <a:t>.</a:t>
                      </a:r>
                      <a:endParaRPr lang="en-ID" sz="14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969231365"/>
                  </a:ext>
                </a:extLst>
              </a:tr>
              <a:tr h="49380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</a:rPr>
                        <a:t>4.2</a:t>
                      </a:r>
                      <a:endParaRPr lang="en-ID" sz="14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</a:rPr>
                        <a:t>Saran-Saran</a:t>
                      </a:r>
                      <a:endParaRPr lang="en-ID" sz="14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400" dirty="0" err="1">
                          <a:solidFill>
                            <a:schemeClr val="bg1"/>
                          </a:solidFill>
                          <a:effectLst/>
                        </a:rPr>
                        <a:t>Sampaikan</a:t>
                      </a: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</a:rPr>
                        <a:t> saran-saran </a:t>
                      </a:r>
                      <a:r>
                        <a:rPr lang="en-US" sz="1400" dirty="0" err="1">
                          <a:solidFill>
                            <a:schemeClr val="bg1"/>
                          </a:solidFill>
                          <a:effectLst/>
                        </a:rPr>
                        <a:t>kepada</a:t>
                      </a: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bg1"/>
                          </a:solidFill>
                          <a:effectLst/>
                        </a:rPr>
                        <a:t>pihak-pihak</a:t>
                      </a: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bg1"/>
                          </a:solidFill>
                          <a:effectLst/>
                        </a:rPr>
                        <a:t>terkait</a:t>
                      </a: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bg1"/>
                          </a:solidFill>
                          <a:effectLst/>
                        </a:rPr>
                        <a:t>bekenaan</a:t>
                      </a: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chemeClr val="bg1"/>
                          </a:solidFill>
                          <a:effectLst/>
                        </a:rPr>
                        <a:t>kepemimpinan</a:t>
                      </a: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</a:rPr>
                        <a:t> masa </a:t>
                      </a:r>
                      <a:r>
                        <a:rPr lang="en-US" sz="1400" dirty="0" err="1">
                          <a:solidFill>
                            <a:schemeClr val="bg1"/>
                          </a:solidFill>
                          <a:effectLst/>
                        </a:rPr>
                        <a:t>kini</a:t>
                      </a: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</a:rPr>
                        <a:t> dan masa </a:t>
                      </a:r>
                      <a:r>
                        <a:rPr lang="en-US" sz="1400" dirty="0" err="1">
                          <a:solidFill>
                            <a:schemeClr val="bg1"/>
                          </a:solidFill>
                          <a:effectLst/>
                        </a:rPr>
                        <a:t>depan</a:t>
                      </a:r>
                      <a:r>
                        <a:rPr lang="en-US" sz="1400" dirty="0">
                          <a:solidFill>
                            <a:schemeClr val="bg1"/>
                          </a:solidFill>
                          <a:effectLst/>
                        </a:rPr>
                        <a:t>.</a:t>
                      </a:r>
                      <a:endParaRPr lang="en-ID" sz="140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1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67924615"/>
                  </a:ext>
                </a:extLst>
              </a:tr>
              <a:tr h="206215">
                <a:tc grid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b="0" dirty="0">
                          <a:solidFill>
                            <a:schemeClr val="bg1"/>
                          </a:solidFill>
                          <a:effectLst/>
                        </a:rPr>
                        <a:t>DAFTAR PUSTAKA</a:t>
                      </a:r>
                      <a:endParaRPr lang="en-ID" sz="1200" b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tx1">
                        <a:lumMod val="20000"/>
                        <a:lumOff val="8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589320032"/>
                  </a:ext>
                </a:extLst>
              </a:tr>
            </a:tbl>
          </a:graphicData>
        </a:graphic>
      </p:graphicFrame>
      <p:sp>
        <p:nvSpPr>
          <p:cNvPr id="5" name="TextBox 4">
            <a:extLst>
              <a:ext uri="{FF2B5EF4-FFF2-40B4-BE49-F238E27FC236}">
                <a16:creationId xmlns:a16="http://schemas.microsoft.com/office/drawing/2014/main" id="{9DBAD4A6-3A67-4F4C-9E43-45E9731413CB}"/>
              </a:ext>
            </a:extLst>
          </p:cNvPr>
          <p:cNvSpPr txBox="1"/>
          <p:nvPr/>
        </p:nvSpPr>
        <p:spPr>
          <a:xfrm>
            <a:off x="1308900" y="2506125"/>
            <a:ext cx="6526200" cy="2042354"/>
          </a:xfrm>
          <a:prstGeom prst="rect">
            <a:avLst/>
          </a:prstGeom>
          <a:solidFill>
            <a:schemeClr val="accent6">
              <a:lumMod val="25000"/>
              <a:lumOff val="75000"/>
            </a:schemeClr>
          </a:solidFill>
          <a:ln>
            <a:solidFill>
              <a:schemeClr val="tx2">
                <a:lumMod val="40000"/>
                <a:lumOff val="60000"/>
              </a:schemeClr>
            </a:solidFill>
          </a:ln>
        </p:spPr>
        <p:txBody>
          <a:bodyPr wrap="square">
            <a:spAutoFit/>
          </a:bodyPr>
          <a:lstStyle/>
          <a:p>
            <a:pPr marR="208280" algn="just">
              <a:lnSpc>
                <a:spcPct val="107000"/>
              </a:lnSpc>
              <a:spcAft>
                <a:spcPts val="320"/>
              </a:spcAft>
            </a:pPr>
            <a:r>
              <a:rPr lang="en-US" sz="14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MPIRAN </a:t>
            </a:r>
            <a:endParaRPr lang="en-ID" sz="1800" dirty="0">
              <a:solidFill>
                <a:schemeClr val="bg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208280" algn="just">
              <a:lnSpc>
                <a:spcPct val="111000"/>
              </a:lnSpc>
              <a:spcAft>
                <a:spcPts val="205"/>
              </a:spcAft>
            </a:pPr>
            <a:r>
              <a:rPr lang="en-US" sz="14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Foto</a:t>
            </a:r>
            <a:r>
              <a:rPr lang="en-US" sz="14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egiatan</a:t>
            </a:r>
            <a:r>
              <a:rPr lang="en-US" dirty="0">
                <a:solidFill>
                  <a:schemeClr val="bg1"/>
                </a:solidFill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14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okumentasi</a:t>
            </a:r>
            <a:r>
              <a:rPr lang="en-US" sz="14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lainnya</a:t>
            </a:r>
            <a:r>
              <a:rPr lang="en-US" sz="14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(Hasil </a:t>
            </a:r>
            <a:r>
              <a:rPr lang="en-US" sz="14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Pengujian</a:t>
            </a:r>
            <a:r>
              <a:rPr lang="en-US" sz="14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14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rifikasi</a:t>
            </a:r>
            <a:r>
              <a:rPr lang="en-US" sz="14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, </a:t>
            </a:r>
            <a:r>
              <a:rPr lang="en-US" sz="14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ak</a:t>
            </a:r>
            <a:r>
              <a:rPr lang="en-US" sz="14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aten </a:t>
            </a:r>
            <a:r>
              <a:rPr lang="en-US" sz="14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ll</a:t>
            </a:r>
            <a:r>
              <a:rPr lang="en-US" sz="14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ika</a:t>
            </a:r>
            <a:r>
              <a:rPr lang="en-US" sz="14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400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da</a:t>
            </a:r>
            <a:r>
              <a:rPr lang="en-US" sz="14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)</a:t>
            </a:r>
            <a:endParaRPr lang="en-ID" sz="1800" dirty="0">
              <a:solidFill>
                <a:schemeClr val="bg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93763" marR="3175" indent="-893763" algn="just">
              <a:lnSpc>
                <a:spcPct val="103000"/>
              </a:lnSpc>
              <a:spcAft>
                <a:spcPts val="265"/>
              </a:spcAft>
            </a:pPr>
            <a:endParaRPr lang="en-US" sz="1400" dirty="0">
              <a:solidFill>
                <a:schemeClr val="bg1"/>
              </a:solidFill>
              <a:effectLst/>
              <a:latin typeface="Arial" panose="020B060402020202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893763" marR="3175" indent="-893763" algn="just">
              <a:lnSpc>
                <a:spcPct val="103000"/>
              </a:lnSpc>
              <a:spcAft>
                <a:spcPts val="265"/>
              </a:spcAft>
            </a:pPr>
            <a:r>
              <a:rPr lang="en-US" sz="1400" b="1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Catatan</a:t>
            </a:r>
            <a:r>
              <a:rPr lang="en-US" sz="14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:  </a:t>
            </a:r>
            <a:r>
              <a:rPr lang="en-US" sz="1400" b="1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Makalah</a:t>
            </a:r>
            <a:r>
              <a:rPr lang="en-US" sz="14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400" b="1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itulis</a:t>
            </a:r>
            <a:r>
              <a:rPr lang="en-US" sz="14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pada </a:t>
            </a:r>
            <a:r>
              <a:rPr lang="en-US" sz="1400" b="1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ertas</a:t>
            </a:r>
            <a:r>
              <a:rPr lang="en-US" sz="14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A4 </a:t>
            </a:r>
            <a:r>
              <a:rPr lang="en-US" sz="1400" b="1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dengan</a:t>
            </a:r>
            <a:r>
              <a:rPr lang="en-US" sz="14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sz="1400" b="1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huruf</a:t>
            </a:r>
            <a:r>
              <a:rPr lang="en-US" sz="14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Times New Roman font 12, </a:t>
            </a:r>
            <a:r>
              <a:rPr lang="en-US" sz="1400" b="1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pasi</a:t>
            </a:r>
            <a:r>
              <a:rPr lang="en-US" sz="14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1,5 </a:t>
            </a:r>
            <a:r>
              <a:rPr lang="en-US" sz="1400" b="1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erta</a:t>
            </a:r>
            <a:r>
              <a:rPr lang="en-US" sz="14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argin (</a:t>
            </a:r>
            <a:r>
              <a:rPr lang="en-US" sz="1400" b="1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atas-bawah-kiri</a:t>
            </a:r>
            <a:r>
              <a:rPr lang="en-US" sz="14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asing-masing 2,5 cm dan </a:t>
            </a:r>
            <a:r>
              <a:rPr lang="en-US" sz="1400" b="1" dirty="0" err="1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anan</a:t>
            </a:r>
            <a:r>
              <a:rPr lang="en-US" sz="1400" b="1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2 cm). </a:t>
            </a:r>
            <a:endParaRPr lang="en-ID" sz="1800" b="1" dirty="0">
              <a:solidFill>
                <a:schemeClr val="bg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R="3175" algn="just">
              <a:lnSpc>
                <a:spcPct val="103000"/>
              </a:lnSpc>
              <a:spcAft>
                <a:spcPts val="265"/>
              </a:spcAft>
            </a:pPr>
            <a:r>
              <a:rPr lang="en-US" sz="1400" dirty="0">
                <a:solidFill>
                  <a:schemeClr val="bg1"/>
                </a:solidFill>
                <a:effectLst/>
                <a:latin typeface="Arial" panose="020B060402020202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 </a:t>
            </a:r>
            <a:endParaRPr lang="en-ID" sz="1800" dirty="0">
              <a:solidFill>
                <a:schemeClr val="bg1"/>
              </a:solidFill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239784724"/>
      </p:ext>
    </p:extLst>
  </p:cSld>
  <p:clrMapOvr>
    <a:masterClrMapping/>
  </p:clrMapOvr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>
            <a:extLst>
              <a:ext uri="{FF2B5EF4-FFF2-40B4-BE49-F238E27FC236}">
                <a16:creationId xmlns:a16="http://schemas.microsoft.com/office/drawing/2014/main" id="{878FCB17-AD7C-4A7B-A6B1-F4A310E1A6AC}"/>
              </a:ext>
            </a:extLst>
          </p:cNvPr>
          <p:cNvSpPr/>
          <p:nvPr/>
        </p:nvSpPr>
        <p:spPr>
          <a:xfrm>
            <a:off x="170678" y="1388025"/>
            <a:ext cx="76962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000" b="1" dirty="0">
                <a:solidFill>
                  <a:schemeClr val="bg1">
                    <a:lumMod val="10000"/>
                    <a:lumOff val="9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. Format PPT </a:t>
            </a:r>
            <a:r>
              <a:rPr lang="en-US" sz="2000" b="1" dirty="0" err="1">
                <a:solidFill>
                  <a:schemeClr val="bg1">
                    <a:lumMod val="10000"/>
                    <a:lumOff val="9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esentasi</a:t>
            </a:r>
            <a:r>
              <a:rPr lang="en-US" sz="2000" b="1" dirty="0">
                <a:solidFill>
                  <a:schemeClr val="bg1">
                    <a:lumMod val="10000"/>
                    <a:lumOff val="9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2000" b="1" dirty="0" err="1">
                <a:solidFill>
                  <a:schemeClr val="bg1">
                    <a:lumMod val="10000"/>
                    <a:lumOff val="9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ategori</a:t>
            </a:r>
            <a:r>
              <a:rPr lang="en-US" sz="2000" b="1" dirty="0">
                <a:solidFill>
                  <a:schemeClr val="bg1">
                    <a:lumMod val="10000"/>
                    <a:lumOff val="9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2000" b="1" dirty="0" err="1">
                <a:solidFill>
                  <a:schemeClr val="bg1">
                    <a:lumMod val="10000"/>
                    <a:lumOff val="9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ovatif</a:t>
            </a:r>
            <a:endParaRPr lang="en-ID" sz="2000" b="1" dirty="0">
              <a:solidFill>
                <a:schemeClr val="bg1">
                  <a:lumMod val="10000"/>
                  <a:lumOff val="9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3" name="Rectangle 2">
            <a:extLst>
              <a:ext uri="{FF2B5EF4-FFF2-40B4-BE49-F238E27FC236}">
                <a16:creationId xmlns:a16="http://schemas.microsoft.com/office/drawing/2014/main" id="{28DA2F5A-13FA-44AB-AC92-888D55E0567B}"/>
              </a:ext>
            </a:extLst>
          </p:cNvPr>
          <p:cNvSpPr/>
          <p:nvPr/>
        </p:nvSpPr>
        <p:spPr>
          <a:xfrm>
            <a:off x="961844" y="1946672"/>
            <a:ext cx="6905034" cy="255454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9875" lvl="0" algn="just"/>
            <a:r>
              <a:rPr lang="en-ID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1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.</a:t>
            </a:r>
            <a:r>
              <a:rPr lang="en-ID" sz="1600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  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endahulua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(</a:t>
            </a:r>
            <a:r>
              <a:rPr lang="en-US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ermasalahan</a:t>
            </a:r>
            <a:r>
              <a:rPr lang="en-US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, </a:t>
            </a:r>
            <a:r>
              <a:rPr lang="en-US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Kendala</a:t>
            </a:r>
            <a:r>
              <a:rPr lang="en-US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dan </a:t>
            </a:r>
            <a:r>
              <a:rPr lang="en-US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Solusi</a:t>
            </a:r>
            <a:r>
              <a:rPr lang="en-US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yang </a:t>
            </a:r>
            <a:r>
              <a:rPr lang="en-US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diharapkan</a:t>
            </a:r>
            <a:r>
              <a:rPr lang="en-US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) </a:t>
            </a:r>
            <a:endParaRPr lang="en-ID" sz="1600" dirty="0">
              <a:solidFill>
                <a:schemeClr val="bg1">
                  <a:lumMod val="10000"/>
                  <a:lumOff val="9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arlow Light" panose="020B060402020202020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69875" lvl="0" algn="just"/>
            <a:r>
              <a:rPr lang="en-US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2.   </a:t>
            </a:r>
            <a:r>
              <a:rPr lang="en-US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Urgensi</a:t>
            </a:r>
            <a:r>
              <a:rPr lang="en-US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(</a:t>
            </a:r>
            <a:r>
              <a:rPr lang="en-US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entingnya</a:t>
            </a:r>
            <a:r>
              <a:rPr lang="en-US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) </a:t>
            </a:r>
            <a:r>
              <a:rPr lang="en-US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Inovasi</a:t>
            </a:r>
            <a:r>
              <a:rPr lang="en-US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dalam</a:t>
            </a:r>
            <a:r>
              <a:rPr lang="en-US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enyelesaian</a:t>
            </a:r>
            <a:r>
              <a:rPr lang="en-US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ekerjaan</a:t>
            </a:r>
            <a:endParaRPr lang="en-ID" sz="1600" dirty="0">
              <a:solidFill>
                <a:schemeClr val="bg1">
                  <a:lumMod val="10000"/>
                  <a:lumOff val="9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arlow Light" panose="020B060402020202020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269875" lvl="0" algn="just"/>
            <a:r>
              <a:rPr lang="en-US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3.   </a:t>
            </a:r>
            <a:r>
              <a:rPr lang="en-US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Unjuk</a:t>
            </a:r>
            <a:r>
              <a:rPr lang="en-US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Kerja</a:t>
            </a:r>
            <a:r>
              <a:rPr lang="en-US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(Cara </a:t>
            </a:r>
            <a:r>
              <a:rPr lang="en-US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kerja</a:t>
            </a:r>
            <a:r>
              <a:rPr lang="en-US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/</a:t>
            </a:r>
            <a:r>
              <a:rPr lang="en-US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Sistem</a:t>
            </a:r>
            <a:r>
              <a:rPr lang="en-US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Kerja</a:t>
            </a:r>
            <a:r>
              <a:rPr lang="en-US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) </a:t>
            </a:r>
            <a:r>
              <a:rPr lang="en-US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Inovasi</a:t>
            </a:r>
            <a:r>
              <a:rPr lang="en-US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yang di </a:t>
            </a:r>
            <a:r>
              <a:rPr lang="en-US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terapkan</a:t>
            </a:r>
            <a:endParaRPr lang="en-ID" sz="1600" dirty="0">
              <a:solidFill>
                <a:schemeClr val="bg1">
                  <a:lumMod val="10000"/>
                  <a:lumOff val="9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arlow Light" panose="020B060402020202020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38163" lvl="0" indent="-268288" algn="just"/>
            <a:r>
              <a:rPr lang="en-US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4.  </a:t>
            </a:r>
            <a:r>
              <a:rPr lang="en-US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Dampak</a:t>
            </a:r>
            <a:r>
              <a:rPr lang="en-US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/</a:t>
            </a:r>
            <a:r>
              <a:rPr lang="en-US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Manfaat</a:t>
            </a:r>
            <a:r>
              <a:rPr lang="en-US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Inovasi</a:t>
            </a:r>
            <a:r>
              <a:rPr lang="en-US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terhadap</a:t>
            </a:r>
            <a:r>
              <a:rPr lang="en-US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Lingkungan</a:t>
            </a:r>
            <a:r>
              <a:rPr lang="en-US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kerja</a:t>
            </a:r>
            <a:r>
              <a:rPr lang="en-US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, </a:t>
            </a:r>
            <a:r>
              <a:rPr lang="en-US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emerintah</a:t>
            </a:r>
            <a:r>
              <a:rPr lang="en-US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dan Masyarakat</a:t>
            </a:r>
            <a:endParaRPr lang="en-ID" sz="1600" dirty="0">
              <a:solidFill>
                <a:schemeClr val="bg1">
                  <a:lumMod val="10000"/>
                  <a:lumOff val="9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arlow Light" panose="020B060402020202020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42925" lvl="0" indent="-273050" algn="just"/>
            <a:r>
              <a:rPr lang="en-US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5.  </a:t>
            </a:r>
            <a:r>
              <a:rPr lang="en-US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Kelebihan</a:t>
            </a:r>
            <a:r>
              <a:rPr lang="en-US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/</a:t>
            </a:r>
            <a:r>
              <a:rPr lang="en-US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Keunggulan</a:t>
            </a:r>
            <a:r>
              <a:rPr lang="en-US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dan </a:t>
            </a:r>
            <a:r>
              <a:rPr lang="en-US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Kekurangan</a:t>
            </a:r>
            <a:r>
              <a:rPr lang="en-US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/</a:t>
            </a:r>
            <a:r>
              <a:rPr lang="en-US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Kelemahan</a:t>
            </a:r>
            <a:r>
              <a:rPr lang="en-US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dari</a:t>
            </a:r>
            <a:r>
              <a:rPr lang="en-US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Inovasi</a:t>
            </a:r>
            <a:r>
              <a:rPr lang="en-US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yang di </a:t>
            </a:r>
            <a:r>
              <a:rPr lang="en-US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terapkan</a:t>
            </a:r>
            <a:r>
              <a:rPr lang="en-US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di </a:t>
            </a:r>
            <a:r>
              <a:rPr lang="en-US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bandingan</a:t>
            </a:r>
            <a:r>
              <a:rPr lang="en-US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dengan</a:t>
            </a:r>
            <a:r>
              <a:rPr lang="en-US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Inovasi</a:t>
            </a:r>
            <a:r>
              <a:rPr lang="en-US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yang </a:t>
            </a:r>
            <a:r>
              <a:rPr lang="en-US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telah</a:t>
            </a:r>
            <a:r>
              <a:rPr lang="en-US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ada</a:t>
            </a:r>
            <a:endParaRPr lang="en-ID" sz="1600" dirty="0">
              <a:solidFill>
                <a:schemeClr val="bg1">
                  <a:lumMod val="10000"/>
                  <a:lumOff val="9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arlow Light" panose="020B060402020202020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542925" lvl="0" indent="-276225" algn="just"/>
            <a:r>
              <a:rPr lang="en-US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6.  </a:t>
            </a:r>
            <a:r>
              <a:rPr lang="en-US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Rencana</a:t>
            </a:r>
            <a:r>
              <a:rPr lang="en-US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dan </a:t>
            </a:r>
            <a:r>
              <a:rPr lang="en-US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Strategi</a:t>
            </a:r>
            <a:r>
              <a:rPr lang="en-US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untuk</a:t>
            </a:r>
            <a:r>
              <a:rPr lang="en-US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enerapan</a:t>
            </a:r>
            <a:r>
              <a:rPr lang="en-US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dan </a:t>
            </a:r>
            <a:r>
              <a:rPr lang="en-US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Memasyarakatkan</a:t>
            </a:r>
            <a:r>
              <a:rPr lang="en-US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Inovasi</a:t>
            </a:r>
            <a:r>
              <a:rPr lang="en-US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yang </a:t>
            </a:r>
            <a:r>
              <a:rPr lang="en-US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lebih</a:t>
            </a:r>
            <a:r>
              <a:rPr lang="en-US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luas</a:t>
            </a:r>
            <a:r>
              <a:rPr lang="en-US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untuk</a:t>
            </a:r>
            <a:r>
              <a:rPr lang="en-US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mendukung</a:t>
            </a:r>
            <a:r>
              <a:rPr lang="en-US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embangunan</a:t>
            </a:r>
            <a:r>
              <a:rPr lang="en-US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daerah</a:t>
            </a:r>
            <a:r>
              <a:rPr lang="en-US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dan Nasional.</a:t>
            </a:r>
          </a:p>
          <a:p>
            <a:pPr marL="542925" lvl="0" indent="-273050" algn="just"/>
            <a:r>
              <a:rPr lang="en-US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7.   Kesimpulan dan saran</a:t>
            </a:r>
            <a:endParaRPr lang="en-ID" sz="1600" dirty="0">
              <a:solidFill>
                <a:schemeClr val="bg1">
                  <a:lumMod val="10000"/>
                  <a:lumOff val="9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arlow Light" panose="020B060402020202020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A800387D-7613-4959-8010-C0076017E814}"/>
              </a:ext>
            </a:extLst>
          </p:cNvPr>
          <p:cNvGrpSpPr/>
          <p:nvPr/>
        </p:nvGrpSpPr>
        <p:grpSpPr>
          <a:xfrm>
            <a:off x="87968" y="108418"/>
            <a:ext cx="1165064" cy="643093"/>
            <a:chOff x="9921341" y="214971"/>
            <a:chExt cx="2195146" cy="1211678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514AC148-75A2-48C5-ADB6-84051173C450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486" t="10276" r="10972" b="7017"/>
            <a:stretch/>
          </p:blipFill>
          <p:spPr>
            <a:xfrm>
              <a:off x="11019207" y="243065"/>
              <a:ext cx="1097280" cy="1155491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6C49EBC3-9363-4BC8-BF68-7ED34FD71EB1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11200"/>
                      </a14:imgEffect>
                      <a14:imgEffect>
                        <a14:brightnessContrast bright="4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21341" y="214971"/>
              <a:ext cx="1022353" cy="1211678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7BC88AD8-3266-4A97-B1F7-B800A84150C8}"/>
              </a:ext>
            </a:extLst>
          </p:cNvPr>
          <p:cNvSpPr/>
          <p:nvPr/>
        </p:nvSpPr>
        <p:spPr>
          <a:xfrm>
            <a:off x="897441" y="695083"/>
            <a:ext cx="703384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000" b="1" dirty="0">
                <a:solidFill>
                  <a:schemeClr val="accent1">
                    <a:lumMod val="60000"/>
                    <a:lumOff val="4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FORMAT PENYUSUNAN BAHAN PRESENTASI</a:t>
            </a:r>
            <a:endParaRPr lang="en-ID" sz="2000" b="1" dirty="0">
              <a:solidFill>
                <a:schemeClr val="accent1">
                  <a:lumMod val="60000"/>
                  <a:lumOff val="4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990532534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chemeClr val="dk2"/>
        </a:solidFill>
        <a:effectLst/>
      </p:bgPr>
    </p:bg>
    <p:spTree>
      <p:nvGrpSpPr>
        <p:cNvPr id="1" name="Shape 259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60" name="Google Shape;260;p40"/>
          <p:cNvSpPr txBox="1">
            <a:spLocks noGrp="1"/>
          </p:cNvSpPr>
          <p:nvPr>
            <p:ph type="title" idx="6"/>
          </p:nvPr>
        </p:nvSpPr>
        <p:spPr>
          <a:xfrm>
            <a:off x="54243" y="177512"/>
            <a:ext cx="9027764" cy="572700"/>
          </a:xfrm>
          <a:prstGeom prst="rect">
            <a:avLst/>
          </a:prstGeom>
        </p:spPr>
        <p:style>
          <a:lnRef idx="3">
            <a:schemeClr val="lt1"/>
          </a:lnRef>
          <a:fillRef idx="1">
            <a:schemeClr val="accent3"/>
          </a:fillRef>
          <a:effectRef idx="1">
            <a:schemeClr val="accent3"/>
          </a:effectRef>
          <a:fontRef idx="minor">
            <a:schemeClr val="lt1"/>
          </a:fontRef>
        </p:style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id-ID" dirty="0">
                <a:solidFill>
                  <a:srgbClr val="F3F3F3"/>
                </a:solidFill>
              </a:rPr>
              <a:t>K</a:t>
            </a:r>
            <a:r>
              <a:rPr lang="en-US" dirty="0" err="1">
                <a:solidFill>
                  <a:srgbClr val="F3F3F3"/>
                </a:solidFill>
              </a:rPr>
              <a:t>ategori</a:t>
            </a:r>
            <a:r>
              <a:rPr lang="en-US" dirty="0">
                <a:solidFill>
                  <a:srgbClr val="F3F3F3"/>
                </a:solidFill>
              </a:rPr>
              <a:t> Peserta PNS </a:t>
            </a:r>
            <a:r>
              <a:rPr lang="en-US" dirty="0" err="1">
                <a:solidFill>
                  <a:srgbClr val="F3F3F3"/>
                </a:solidFill>
              </a:rPr>
              <a:t>Berprestasi</a:t>
            </a:r>
            <a:r>
              <a:rPr lang="en-US" dirty="0">
                <a:solidFill>
                  <a:srgbClr val="F3F3F3"/>
                </a:solidFill>
              </a:rPr>
              <a:t> </a:t>
            </a:r>
            <a:r>
              <a:rPr lang="en-US" dirty="0" err="1">
                <a:solidFill>
                  <a:srgbClr val="F3F3F3"/>
                </a:solidFill>
              </a:rPr>
              <a:t>Jawa</a:t>
            </a:r>
            <a:r>
              <a:rPr lang="en-US" dirty="0">
                <a:solidFill>
                  <a:srgbClr val="F3F3F3"/>
                </a:solidFill>
              </a:rPr>
              <a:t> Barat </a:t>
            </a:r>
            <a:r>
              <a:rPr lang="en-US" dirty="0" err="1">
                <a:solidFill>
                  <a:srgbClr val="F3F3F3"/>
                </a:solidFill>
              </a:rPr>
              <a:t>Tahun</a:t>
            </a:r>
            <a:r>
              <a:rPr lang="en-US" dirty="0">
                <a:solidFill>
                  <a:srgbClr val="F3F3F3"/>
                </a:solidFill>
              </a:rPr>
              <a:t> 2021</a:t>
            </a:r>
            <a:endParaRPr dirty="0">
              <a:solidFill>
                <a:srgbClr val="F3F3F3"/>
              </a:solidFill>
            </a:endParaRPr>
          </a:p>
        </p:txBody>
      </p:sp>
      <p:sp>
        <p:nvSpPr>
          <p:cNvPr id="261" name="Google Shape;261;p40"/>
          <p:cNvSpPr txBox="1">
            <a:spLocks noGrp="1"/>
          </p:cNvSpPr>
          <p:nvPr>
            <p:ph type="ctrTitle"/>
          </p:nvPr>
        </p:nvSpPr>
        <p:spPr>
          <a:xfrm flipH="1">
            <a:off x="262270" y="940467"/>
            <a:ext cx="2849525" cy="721386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id-ID" dirty="0"/>
              <a:t>PNS BERPRESTASI DENGAN </a:t>
            </a:r>
            <a:r>
              <a:rPr lang="en-US" dirty="0"/>
              <a:t>KARYA </a:t>
            </a:r>
            <a:r>
              <a:rPr lang="id-ID" dirty="0"/>
              <a:t>INOVATIF</a:t>
            </a:r>
          </a:p>
        </p:txBody>
      </p:sp>
      <p:sp>
        <p:nvSpPr>
          <p:cNvPr id="263" name="Google Shape;263;p40"/>
          <p:cNvSpPr txBox="1">
            <a:spLocks noGrp="1"/>
          </p:cNvSpPr>
          <p:nvPr>
            <p:ph type="ctrTitle" idx="2"/>
          </p:nvPr>
        </p:nvSpPr>
        <p:spPr>
          <a:xfrm flipH="1">
            <a:off x="3092196" y="1006999"/>
            <a:ext cx="2969538" cy="661193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id-ID" dirty="0"/>
              <a:t>PNS BERPRESTASI </a:t>
            </a:r>
            <a:br>
              <a:rPr lang="en-US" dirty="0"/>
            </a:br>
            <a:r>
              <a:rPr lang="id-ID" dirty="0"/>
              <a:t>DENGAN </a:t>
            </a:r>
            <a:r>
              <a:rPr lang="en-US" dirty="0"/>
              <a:t>KARYA </a:t>
            </a:r>
            <a:r>
              <a:rPr lang="id-ID" dirty="0"/>
              <a:t>INSPIRATIF</a:t>
            </a:r>
          </a:p>
        </p:txBody>
      </p:sp>
      <p:sp>
        <p:nvSpPr>
          <p:cNvPr id="264" name="Google Shape;264;p40"/>
          <p:cNvSpPr txBox="1">
            <a:spLocks noGrp="1"/>
          </p:cNvSpPr>
          <p:nvPr>
            <p:ph type="subTitle" idx="3"/>
          </p:nvPr>
        </p:nvSpPr>
        <p:spPr>
          <a:xfrm flipH="1">
            <a:off x="54243" y="3858697"/>
            <a:ext cx="9089755" cy="8529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/>
            <a:r>
              <a:rPr lang="sv-SE" dirty="0"/>
              <a:t>PNS DI LINGKUNGAN PEMERINTAH PROVINSI JAWA BARAT</a:t>
            </a:r>
          </a:p>
          <a:p>
            <a:pPr marL="0" lvl="0" indent="0"/>
            <a:endParaRPr lang="sv-SE" dirty="0"/>
          </a:p>
          <a:p>
            <a:pPr marL="0" lvl="0" indent="0"/>
            <a:r>
              <a:rPr lang="sv-SE" dirty="0"/>
              <a:t>                      PNS DI LINGKUNGAN PEMDA KAB/KOTA DI JAWA BARAT</a:t>
            </a:r>
          </a:p>
        </p:txBody>
      </p:sp>
      <p:sp>
        <p:nvSpPr>
          <p:cNvPr id="265" name="Google Shape;265;p40"/>
          <p:cNvSpPr txBox="1">
            <a:spLocks noGrp="1"/>
          </p:cNvSpPr>
          <p:nvPr>
            <p:ph type="ctrTitle" idx="4"/>
          </p:nvPr>
        </p:nvSpPr>
        <p:spPr>
          <a:xfrm flipH="1">
            <a:off x="5941721" y="1114218"/>
            <a:ext cx="2969540" cy="5778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lvl="0"/>
            <a:r>
              <a:rPr lang="id-ID" dirty="0"/>
              <a:t>PNS BERPRESTASI DENGAN THE FUTURE LEADER</a:t>
            </a:r>
            <a:endParaRPr dirty="0"/>
          </a:p>
        </p:txBody>
      </p:sp>
      <p:pic>
        <p:nvPicPr>
          <p:cNvPr id="267" name="Google Shape;267;p40"/>
          <p:cNvPicPr preferRelativeResize="0"/>
          <p:nvPr/>
        </p:nvPicPr>
        <p:blipFill>
          <a:blip r:embed="rId3"/>
          <a:srcRect/>
          <a:stretch/>
        </p:blipFill>
        <p:spPr>
          <a:xfrm>
            <a:off x="3697458" y="1715843"/>
            <a:ext cx="1454400" cy="145440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292929"/>
            </a:solidFill>
            <a:miter lim="800000"/>
          </a:ln>
          <a:effectLst>
            <a:reflection blurRad="12700" stA="28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>
            <a:bevelT h="38100"/>
            <a:contourClr>
              <a:srgbClr val="C0C0C0"/>
            </a:contourClr>
          </a:sp3d>
        </p:spPr>
      </p:pic>
      <p:pic>
        <p:nvPicPr>
          <p:cNvPr id="268" name="Google Shape;268;p40"/>
          <p:cNvPicPr preferRelativeResize="0"/>
          <p:nvPr/>
        </p:nvPicPr>
        <p:blipFill>
          <a:blip r:embed="rId4"/>
          <a:srcRect/>
          <a:stretch/>
        </p:blipFill>
        <p:spPr>
          <a:xfrm>
            <a:off x="836921" y="1750447"/>
            <a:ext cx="1519200" cy="1416352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pic>
        <p:nvPicPr>
          <p:cNvPr id="269" name="Google Shape;269;p40"/>
          <p:cNvPicPr preferRelativeResize="0"/>
          <p:nvPr/>
        </p:nvPicPr>
        <p:blipFill rotWithShape="1">
          <a:blip r:embed="rId5"/>
          <a:srcRect l="12664" t="7936" r="7447" b="16418"/>
          <a:stretch/>
        </p:blipFill>
        <p:spPr>
          <a:xfrm>
            <a:off x="6593388" y="1700263"/>
            <a:ext cx="1454400" cy="1485560"/>
          </a:xfrm>
          <a:prstGeom prst="roundRect">
            <a:avLst>
              <a:gd name="adj" fmla="val 4167"/>
            </a:avLst>
          </a:prstGeom>
          <a:solidFill>
            <a:srgbClr val="FFFFFF"/>
          </a:solidFill>
          <a:ln w="76200" cap="sq">
            <a:solidFill>
              <a:srgbClr val="EAEAEA"/>
            </a:solidFill>
            <a:miter lim="800000"/>
          </a:ln>
          <a:effectLst>
            <a:reflection blurRad="12700" stA="33000" endPos="28000" dist="5000" dir="5400000" sy="-100000" algn="bl" rotWithShape="0"/>
          </a:effectLst>
          <a:scene3d>
            <a:camera prst="orthographicFront"/>
            <a:lightRig rig="threePt" dir="t">
              <a:rot lat="0" lon="0" rev="2700000"/>
            </a:lightRig>
          </a:scene3d>
          <a:sp3d contourW="6350">
            <a:bevelT h="38100"/>
            <a:contourClr>
              <a:srgbClr val="C0C0C0"/>
            </a:contourClr>
          </a:sp3d>
        </p:spPr>
      </p:pic>
      <p:sp>
        <p:nvSpPr>
          <p:cNvPr id="270" name="Google Shape;270;p40"/>
          <p:cNvSpPr/>
          <p:nvPr/>
        </p:nvSpPr>
        <p:spPr>
          <a:xfrm>
            <a:off x="1664088" y="3442610"/>
            <a:ext cx="159300" cy="159300"/>
          </a:xfrm>
          <a:prstGeom prst="ellipse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1" name="Google Shape;271;p40"/>
          <p:cNvSpPr/>
          <p:nvPr/>
        </p:nvSpPr>
        <p:spPr>
          <a:xfrm>
            <a:off x="4492338" y="3442610"/>
            <a:ext cx="159300" cy="159300"/>
          </a:xfrm>
          <a:prstGeom prst="ellipse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72" name="Google Shape;272;p40"/>
          <p:cNvSpPr/>
          <p:nvPr/>
        </p:nvSpPr>
        <p:spPr>
          <a:xfrm>
            <a:off x="7320588" y="3442610"/>
            <a:ext cx="159300" cy="159300"/>
          </a:xfrm>
          <a:prstGeom prst="ellipse">
            <a:avLst/>
          </a:prstGeom>
          <a:solidFill>
            <a:schemeClr val="dk1"/>
          </a:solidFill>
          <a:ln>
            <a:noFill/>
          </a:ln>
        </p:spPr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/>
          </a:p>
        </p:txBody>
      </p:sp>
      <p:sp>
        <p:nvSpPr>
          <p:cNvPr id="21" name="Google Shape;261;p40">
            <a:extLst>
              <a:ext uri="{FF2B5EF4-FFF2-40B4-BE49-F238E27FC236}">
                <a16:creationId xmlns:a16="http://schemas.microsoft.com/office/drawing/2014/main" id="{305ECEF9-BA48-45DF-8EDA-2ED1FF057775}"/>
              </a:ext>
            </a:extLst>
          </p:cNvPr>
          <p:cNvSpPr txBox="1">
            <a:spLocks/>
          </p:cNvSpPr>
          <p:nvPr/>
        </p:nvSpPr>
        <p:spPr>
          <a:xfrm flipH="1">
            <a:off x="1823388" y="3444596"/>
            <a:ext cx="514736" cy="10748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800"/>
              <a:buFont typeface="Source Sans Pro SemiBold"/>
              <a:buNone/>
              <a:defRPr sz="1800" b="0" i="0" u="none" strike="noStrike" cap="none">
                <a:solidFill>
                  <a:srgbClr val="F3F3F3"/>
                </a:solidFill>
                <a:latin typeface="Source Sans Pro SemiBold"/>
                <a:ea typeface="Source Sans Pro SemiBold"/>
                <a:cs typeface="Source Sans Pro SemiBold"/>
                <a:sym typeface="Source Sans Pro SemiBold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800"/>
              <a:buFont typeface="Source Sans Pro"/>
              <a:buNone/>
              <a:defRPr sz="1800" b="1" i="0" u="none" strike="noStrike" cap="none">
                <a:solidFill>
                  <a:srgbClr val="F3F3F3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800"/>
              <a:buFont typeface="Source Sans Pro"/>
              <a:buNone/>
              <a:defRPr sz="1800" b="1" i="0" u="none" strike="noStrike" cap="none">
                <a:solidFill>
                  <a:srgbClr val="F3F3F3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800"/>
              <a:buFont typeface="Source Sans Pro"/>
              <a:buNone/>
              <a:defRPr sz="1800" b="1" i="0" u="none" strike="noStrike" cap="none">
                <a:solidFill>
                  <a:srgbClr val="F3F3F3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800"/>
              <a:buFont typeface="Source Sans Pro"/>
              <a:buNone/>
              <a:defRPr sz="1800" b="1" i="0" u="none" strike="noStrike" cap="none">
                <a:solidFill>
                  <a:srgbClr val="F3F3F3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800"/>
              <a:buFont typeface="Source Sans Pro"/>
              <a:buNone/>
              <a:defRPr sz="1800" b="1" i="0" u="none" strike="noStrike" cap="none">
                <a:solidFill>
                  <a:srgbClr val="F3F3F3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800"/>
              <a:buFont typeface="Source Sans Pro"/>
              <a:buNone/>
              <a:defRPr sz="1800" b="1" i="0" u="none" strike="noStrike" cap="none">
                <a:solidFill>
                  <a:srgbClr val="F3F3F3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800"/>
              <a:buFont typeface="Source Sans Pro"/>
              <a:buNone/>
              <a:defRPr sz="1800" b="1" i="0" u="none" strike="noStrike" cap="none">
                <a:solidFill>
                  <a:srgbClr val="F3F3F3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800"/>
              <a:buFont typeface="Source Sans Pro"/>
              <a:buNone/>
              <a:defRPr sz="1800" b="1" i="0" u="none" strike="noStrike" cap="none">
                <a:solidFill>
                  <a:srgbClr val="F3F3F3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9pPr>
          </a:lstStyle>
          <a:p>
            <a:r>
              <a:rPr lang="en-US" sz="6600" b="1" dirty="0">
                <a:solidFill>
                  <a:srgbClr val="E09B00"/>
                </a:solidFill>
              </a:rPr>
              <a:t>1</a:t>
            </a:r>
            <a:endParaRPr lang="id-ID" sz="6600" b="1" dirty="0">
              <a:solidFill>
                <a:srgbClr val="E09B00"/>
              </a:solidFill>
            </a:endParaRPr>
          </a:p>
        </p:txBody>
      </p:sp>
      <p:sp>
        <p:nvSpPr>
          <p:cNvPr id="22" name="Google Shape;261;p40">
            <a:extLst>
              <a:ext uri="{FF2B5EF4-FFF2-40B4-BE49-F238E27FC236}">
                <a16:creationId xmlns:a16="http://schemas.microsoft.com/office/drawing/2014/main" id="{E98AF2B9-1895-401D-8E31-DE964AB02B17}"/>
              </a:ext>
            </a:extLst>
          </p:cNvPr>
          <p:cNvSpPr txBox="1">
            <a:spLocks/>
          </p:cNvSpPr>
          <p:nvPr/>
        </p:nvSpPr>
        <p:spPr>
          <a:xfrm flipH="1">
            <a:off x="2332572" y="4036329"/>
            <a:ext cx="514736" cy="1074836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91425" tIns="91425" rIns="91425" bIns="91425" anchor="b" anchorCtr="0">
            <a:noAutofit/>
          </a:bodyPr>
          <a:lstStyle>
            <a:defPPr marR="0" lvl="0" algn="l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</a:defPPr>
            <a:lvl1pPr marR="0" lvl="0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800"/>
              <a:buFont typeface="Source Sans Pro SemiBold"/>
              <a:buNone/>
              <a:defRPr sz="1800" b="0" i="0" u="none" strike="noStrike" cap="none">
                <a:solidFill>
                  <a:srgbClr val="F3F3F3"/>
                </a:solidFill>
                <a:latin typeface="Source Sans Pro SemiBold"/>
                <a:ea typeface="Source Sans Pro SemiBold"/>
                <a:cs typeface="Source Sans Pro SemiBold"/>
                <a:sym typeface="Source Sans Pro SemiBold"/>
              </a:defRPr>
            </a:lvl1pPr>
            <a:lvl2pPr marR="0" lvl="1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800"/>
              <a:buFont typeface="Source Sans Pro"/>
              <a:buNone/>
              <a:defRPr sz="1800" b="1" i="0" u="none" strike="noStrike" cap="none">
                <a:solidFill>
                  <a:srgbClr val="F3F3F3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2pPr>
            <a:lvl3pPr marR="0" lvl="2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800"/>
              <a:buFont typeface="Source Sans Pro"/>
              <a:buNone/>
              <a:defRPr sz="1800" b="1" i="0" u="none" strike="noStrike" cap="none">
                <a:solidFill>
                  <a:srgbClr val="F3F3F3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3pPr>
            <a:lvl4pPr marR="0" lvl="3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800"/>
              <a:buFont typeface="Source Sans Pro"/>
              <a:buNone/>
              <a:defRPr sz="1800" b="1" i="0" u="none" strike="noStrike" cap="none">
                <a:solidFill>
                  <a:srgbClr val="F3F3F3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4pPr>
            <a:lvl5pPr marR="0" lvl="4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800"/>
              <a:buFont typeface="Source Sans Pro"/>
              <a:buNone/>
              <a:defRPr sz="1800" b="1" i="0" u="none" strike="noStrike" cap="none">
                <a:solidFill>
                  <a:srgbClr val="F3F3F3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5pPr>
            <a:lvl6pPr marR="0" lvl="5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800"/>
              <a:buFont typeface="Source Sans Pro"/>
              <a:buNone/>
              <a:defRPr sz="1800" b="1" i="0" u="none" strike="noStrike" cap="none">
                <a:solidFill>
                  <a:srgbClr val="F3F3F3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6pPr>
            <a:lvl7pPr marR="0" lvl="6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800"/>
              <a:buFont typeface="Source Sans Pro"/>
              <a:buNone/>
              <a:defRPr sz="1800" b="1" i="0" u="none" strike="noStrike" cap="none">
                <a:solidFill>
                  <a:srgbClr val="F3F3F3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7pPr>
            <a:lvl8pPr marR="0" lvl="7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800"/>
              <a:buFont typeface="Source Sans Pro"/>
              <a:buNone/>
              <a:defRPr sz="1800" b="1" i="0" u="none" strike="noStrike" cap="none">
                <a:solidFill>
                  <a:srgbClr val="F3F3F3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8pPr>
            <a:lvl9pPr marR="0" lvl="8" algn="ctr" rtl="0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>
                <a:srgbClr val="F3F3F3"/>
              </a:buClr>
              <a:buSzPts val="1800"/>
              <a:buFont typeface="Source Sans Pro"/>
              <a:buNone/>
              <a:defRPr sz="1800" b="1" i="0" u="none" strike="noStrike" cap="none">
                <a:solidFill>
                  <a:srgbClr val="F3F3F3"/>
                </a:solidFill>
                <a:latin typeface="Source Sans Pro"/>
                <a:ea typeface="Source Sans Pro"/>
                <a:cs typeface="Source Sans Pro"/>
                <a:sym typeface="Source Sans Pro"/>
              </a:defRPr>
            </a:lvl9pPr>
          </a:lstStyle>
          <a:p>
            <a:r>
              <a:rPr lang="en-US" sz="6600" b="1" dirty="0">
                <a:solidFill>
                  <a:srgbClr val="E09B00"/>
                </a:solidFill>
              </a:rPr>
              <a:t>2</a:t>
            </a:r>
            <a:endParaRPr lang="id-ID" sz="6600" b="1" dirty="0">
              <a:solidFill>
                <a:srgbClr val="E09B00"/>
              </a:solidFill>
            </a:endParaRPr>
          </a:p>
        </p:txBody>
      </p:sp>
    </p:spTree>
  </p:cSld>
  <p:clrMapOvr>
    <a:masterClrMapping/>
  </p:clrMapOvr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8DA2F5A-13FA-44AB-AC92-888D55E0567B}"/>
              </a:ext>
            </a:extLst>
          </p:cNvPr>
          <p:cNvSpPr/>
          <p:nvPr/>
        </p:nvSpPr>
        <p:spPr>
          <a:xfrm>
            <a:off x="741735" y="1579762"/>
            <a:ext cx="7289586" cy="3293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9875" lvl="0" algn="just"/>
            <a:r>
              <a:rPr lang="en-ID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1.    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endahulua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(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ermasalaha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,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Kendala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dan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Solusi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yang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Diharapka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</a:p>
          <a:p>
            <a:pPr marL="269875" lvl="0" algn="just"/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2.  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Urgensi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(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entingnya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)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Karya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Inspirasi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dalam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enyelesaia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ekerjaan</a:t>
            </a:r>
            <a:endParaRPr lang="en-ID" sz="1600" dirty="0">
              <a:solidFill>
                <a:schemeClr val="bg1">
                  <a:lumMod val="10000"/>
                  <a:lumOff val="9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arlow Light" panose="020B0604020202020204" charset="0"/>
              <a:ea typeface="Tahoma" panose="020B0604030504040204" pitchFamily="34" charset="0"/>
              <a:cs typeface="Times New Roman" panose="02020603050405020304" pitchFamily="18" charset="0"/>
            </a:endParaRPr>
          </a:p>
          <a:p>
            <a:pPr marL="533400" lvl="0" indent="-266700" algn="just"/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3.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Teknis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roduk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/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Kegiata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Inspiratif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(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Alat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dan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Baha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yang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Digunaka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,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Spesifikasi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Teknis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roduk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/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Kegiata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dan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kebaharua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roduk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/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Kegiatan</a:t>
            </a:r>
            <a:endParaRPr lang="en-ID" sz="1600" dirty="0">
              <a:solidFill>
                <a:schemeClr val="bg1">
                  <a:lumMod val="10000"/>
                  <a:lumOff val="90000"/>
                </a:schemeClr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arlow Light" panose="020B0604020202020204" charset="0"/>
              <a:ea typeface="Tahoma" panose="020B0604030504040204" pitchFamily="34" charset="0"/>
              <a:cs typeface="Times New Roman" panose="02020603050405020304" pitchFamily="18" charset="0"/>
            </a:endParaRPr>
          </a:p>
          <a:p>
            <a:pPr marL="533400" lvl="0" indent="-263525" algn="just"/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4. Analisa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roduk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/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Kegiata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Inpiratif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 (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Deskripsi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roduk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/Jasa/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Kegiata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dan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manfaat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roduk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/Jasa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Inpiratif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)</a:t>
            </a:r>
          </a:p>
          <a:p>
            <a:pPr marL="533400" lvl="0" indent="-263525" algn="just"/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5.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Analisis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Dampak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roduk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/Jasa/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Kegiata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Inspiratif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(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enciptaa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Nilai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Tambah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,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Kepelopora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dan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Daya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Inspirasi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engembanga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Budaya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dan Nilai-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nilai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Kebangsaa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 </a:t>
            </a:r>
          </a:p>
          <a:p>
            <a:pPr marL="533400" lvl="0" indent="-263525" algn="just"/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6.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Rencana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engembanga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roduk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/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Kegiata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Inspiratif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(Road Map/peta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jala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engembanga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roduk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/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Kegiata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Inpiratif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,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Keterlibata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SDM dan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Biaya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engembanga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Implemetasi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roduk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/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kegiata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Inspiratif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</a:p>
          <a:p>
            <a:pPr marL="269875" lvl="0" algn="just"/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7.   Kesimpulan dan Saran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2B973997-6BF9-4B31-A7BC-409A45DB1F2B}"/>
              </a:ext>
            </a:extLst>
          </p:cNvPr>
          <p:cNvGrpSpPr/>
          <p:nvPr/>
        </p:nvGrpSpPr>
        <p:grpSpPr>
          <a:xfrm>
            <a:off x="87968" y="108418"/>
            <a:ext cx="1165064" cy="643093"/>
            <a:chOff x="9921341" y="214971"/>
            <a:chExt cx="2195146" cy="1211678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7405785D-F8B4-429A-93C3-A7A1FF63BC8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486" t="10276" r="10972" b="7017"/>
            <a:stretch/>
          </p:blipFill>
          <p:spPr>
            <a:xfrm>
              <a:off x="11019207" y="243065"/>
              <a:ext cx="1097280" cy="1155491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C5914204-D833-4555-9779-0C6DEFD1BD60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11200"/>
                      </a14:imgEffect>
                      <a14:imgEffect>
                        <a14:brightnessContrast bright="4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21341" y="214971"/>
              <a:ext cx="1022353" cy="1211678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177D754B-57FC-4CF5-8992-71CDF55C5ED9}"/>
              </a:ext>
            </a:extLst>
          </p:cNvPr>
          <p:cNvSpPr/>
          <p:nvPr/>
        </p:nvSpPr>
        <p:spPr>
          <a:xfrm>
            <a:off x="87968" y="893169"/>
            <a:ext cx="76962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000" b="1" dirty="0">
                <a:solidFill>
                  <a:schemeClr val="bg1">
                    <a:lumMod val="10000"/>
                    <a:lumOff val="9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I. Format PPT </a:t>
            </a:r>
            <a:r>
              <a:rPr lang="en-US" sz="2000" b="1" dirty="0" err="1">
                <a:solidFill>
                  <a:schemeClr val="bg1">
                    <a:lumMod val="10000"/>
                    <a:lumOff val="9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esentasi</a:t>
            </a:r>
            <a:r>
              <a:rPr lang="en-US" sz="2000" b="1" dirty="0">
                <a:solidFill>
                  <a:schemeClr val="bg1">
                    <a:lumMod val="10000"/>
                    <a:lumOff val="9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2000" b="1" dirty="0" err="1">
                <a:solidFill>
                  <a:schemeClr val="bg1">
                    <a:lumMod val="10000"/>
                    <a:lumOff val="9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ategori</a:t>
            </a:r>
            <a:r>
              <a:rPr lang="en-US" sz="2000" b="1" dirty="0">
                <a:solidFill>
                  <a:schemeClr val="bg1">
                    <a:lumMod val="10000"/>
                    <a:lumOff val="9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2000" b="1" dirty="0" err="1">
                <a:solidFill>
                  <a:schemeClr val="bg1">
                    <a:lumMod val="10000"/>
                    <a:lumOff val="9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nspiratif</a:t>
            </a:r>
            <a:endParaRPr lang="en-ID" sz="2000" b="1" dirty="0">
              <a:solidFill>
                <a:schemeClr val="bg1">
                  <a:lumMod val="10000"/>
                  <a:lumOff val="9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45680743"/>
      </p:ext>
    </p:extLst>
  </p:cSld>
  <p:clrMapOvr>
    <a:masterClrMapping/>
  </p:clrMapOvr>
</p:sld>
</file>

<file path=ppt/slides/slide2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Shape 1392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>
            <a:extLst>
              <a:ext uri="{FF2B5EF4-FFF2-40B4-BE49-F238E27FC236}">
                <a16:creationId xmlns:a16="http://schemas.microsoft.com/office/drawing/2014/main" id="{28DA2F5A-13FA-44AB-AC92-888D55E0567B}"/>
              </a:ext>
            </a:extLst>
          </p:cNvPr>
          <p:cNvSpPr/>
          <p:nvPr/>
        </p:nvSpPr>
        <p:spPr>
          <a:xfrm>
            <a:off x="630577" y="1516373"/>
            <a:ext cx="7280046" cy="3293209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269875" lvl="0" algn="just"/>
            <a:r>
              <a:rPr lang="en-ID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1.   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endahulua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(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ermasalaha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,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Kendala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dan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Solusi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yang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diharapka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) </a:t>
            </a:r>
          </a:p>
          <a:p>
            <a:pPr marL="538163" lvl="0" indent="-268288" algn="just"/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2.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Urgensi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(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entingnya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)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Kepemimpina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Masa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Depa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untuk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Keberlanjuta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Pembangunan</a:t>
            </a:r>
          </a:p>
          <a:p>
            <a:pPr marL="533400" lvl="0" indent="-263525" algn="just"/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3. 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Studi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Kasus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Kepemimpina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 (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Analisis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Lingkunga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,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engambila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Keputusan, Model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komunikasi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dan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sistem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Informasi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,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engelolaa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dan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engembanga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SDM, 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Keterlibata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/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artisipasi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ihak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lain,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Teknologi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/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Inovasi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yang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digunaka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, Hasil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kerja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/Output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kerja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dan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Dampak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Hasil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ekerjaa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)</a:t>
            </a:r>
          </a:p>
          <a:p>
            <a:pPr marL="533400" lvl="0" indent="-263525" algn="just"/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4.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Konsep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/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gagasa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kepemimpina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di masa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depa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(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Visi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dan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misi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kepemimpina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ke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depa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, Gaya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Kepemimpina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masa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depa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,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engembanga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otensi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SDM,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engembanga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otensi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SDA,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Mengelola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erubaha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,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artisipasi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Stakeholder,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engambila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Keputusan, dan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Orientasi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kepemimpi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dalam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ID" sz="1600" dirty="0" err="1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embangunan</a:t>
            </a:r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</a:p>
          <a:p>
            <a:pPr marL="269875" lvl="0" algn="just"/>
            <a:r>
              <a:rPr lang="en-ID" sz="1600" dirty="0">
                <a:solidFill>
                  <a:schemeClr val="bg1">
                    <a:lumMod val="10000"/>
                    <a:lumOff val="90000"/>
                  </a:schemeClr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5.   Kesimpulan dan Saran</a:t>
            </a: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56127DD1-3775-4F64-808F-21E223A244E5}"/>
              </a:ext>
            </a:extLst>
          </p:cNvPr>
          <p:cNvGrpSpPr/>
          <p:nvPr/>
        </p:nvGrpSpPr>
        <p:grpSpPr>
          <a:xfrm>
            <a:off x="87968" y="108418"/>
            <a:ext cx="1165064" cy="643093"/>
            <a:chOff x="9921341" y="214971"/>
            <a:chExt cx="2195146" cy="1211678"/>
          </a:xfrm>
        </p:grpSpPr>
        <p:pic>
          <p:nvPicPr>
            <p:cNvPr id="5" name="Picture 4">
              <a:extLst>
                <a:ext uri="{FF2B5EF4-FFF2-40B4-BE49-F238E27FC236}">
                  <a16:creationId xmlns:a16="http://schemas.microsoft.com/office/drawing/2014/main" id="{F5015B3E-F671-441C-B5D2-2780E298141F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486" t="10276" r="10972" b="7017"/>
            <a:stretch/>
          </p:blipFill>
          <p:spPr>
            <a:xfrm>
              <a:off x="11019207" y="243065"/>
              <a:ext cx="1097280" cy="1155491"/>
            </a:xfrm>
            <a:prstGeom prst="rect">
              <a:avLst/>
            </a:prstGeom>
          </p:spPr>
        </p:pic>
        <p:pic>
          <p:nvPicPr>
            <p:cNvPr id="6" name="Picture 5">
              <a:extLst>
                <a:ext uri="{FF2B5EF4-FFF2-40B4-BE49-F238E27FC236}">
                  <a16:creationId xmlns:a16="http://schemas.microsoft.com/office/drawing/2014/main" id="{CC373A49-617D-4250-9FEF-918BEC7D3E1F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11200"/>
                      </a14:imgEffect>
                      <a14:imgEffect>
                        <a14:brightnessContrast bright="4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21341" y="214971"/>
              <a:ext cx="1022353" cy="1211678"/>
            </a:xfrm>
            <a:prstGeom prst="rect">
              <a:avLst/>
            </a:prstGeom>
          </p:spPr>
        </p:pic>
      </p:grpSp>
      <p:sp>
        <p:nvSpPr>
          <p:cNvPr id="7" name="Rectangle 6">
            <a:extLst>
              <a:ext uri="{FF2B5EF4-FFF2-40B4-BE49-F238E27FC236}">
                <a16:creationId xmlns:a16="http://schemas.microsoft.com/office/drawing/2014/main" id="{AB651437-A669-44D8-AE76-979404126DFD}"/>
              </a:ext>
            </a:extLst>
          </p:cNvPr>
          <p:cNvSpPr/>
          <p:nvPr/>
        </p:nvSpPr>
        <p:spPr>
          <a:xfrm>
            <a:off x="462579" y="966151"/>
            <a:ext cx="7696200" cy="40011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lvl="0" algn="ctr"/>
            <a:r>
              <a:rPr lang="en-US" sz="2000" b="1" dirty="0">
                <a:solidFill>
                  <a:schemeClr val="bg1">
                    <a:lumMod val="10000"/>
                    <a:lumOff val="9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III. Format PPT </a:t>
            </a:r>
            <a:r>
              <a:rPr lang="en-US" sz="2000" b="1" dirty="0" err="1">
                <a:solidFill>
                  <a:schemeClr val="bg1">
                    <a:lumMod val="10000"/>
                    <a:lumOff val="9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resentasi</a:t>
            </a:r>
            <a:r>
              <a:rPr lang="en-US" sz="2000" b="1" dirty="0">
                <a:solidFill>
                  <a:schemeClr val="bg1">
                    <a:lumMod val="10000"/>
                    <a:lumOff val="9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2000" b="1" dirty="0" err="1">
                <a:solidFill>
                  <a:schemeClr val="bg1">
                    <a:lumMod val="10000"/>
                    <a:lumOff val="9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Kategori</a:t>
            </a:r>
            <a:r>
              <a:rPr lang="en-US" sz="2000" b="1" dirty="0">
                <a:solidFill>
                  <a:schemeClr val="bg1">
                    <a:lumMod val="10000"/>
                    <a:lumOff val="9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 </a:t>
            </a:r>
            <a:r>
              <a:rPr lang="en-US" sz="2000" b="1" i="1" dirty="0">
                <a:solidFill>
                  <a:schemeClr val="bg1">
                    <a:lumMod val="10000"/>
                    <a:lumOff val="90000"/>
                  </a:schemeClr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the Future leader</a:t>
            </a:r>
            <a:endParaRPr lang="en-ID" sz="2000" b="1" i="1" dirty="0">
              <a:solidFill>
                <a:schemeClr val="bg1">
                  <a:lumMod val="10000"/>
                  <a:lumOff val="90000"/>
                </a:schemeClr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826679393"/>
      </p:ext>
    </p:extLst>
  </p:cSld>
  <p:clrMapOvr>
    <a:masterClrMapping/>
  </p:clrMapOvr>
</p:sld>
</file>

<file path=ppt/slides/slide2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47000">
              <a:srgbClr val="00B0F0"/>
            </a:gs>
            <a:gs pos="0">
              <a:schemeClr val="accent1">
                <a:lumMod val="5000"/>
                <a:lumOff val="95000"/>
              </a:schemeClr>
            </a:gs>
            <a:gs pos="65000">
              <a:schemeClr val="accent6">
                <a:lumMod val="50000"/>
                <a:lumOff val="50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89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Shape 13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9" name="Google Shape;1399;p36"/>
          <p:cNvSpPr txBox="1">
            <a:spLocks noGrp="1"/>
          </p:cNvSpPr>
          <p:nvPr>
            <p:ph type="title" idx="2"/>
          </p:nvPr>
        </p:nvSpPr>
        <p:spPr>
          <a:xfrm>
            <a:off x="681750" y="1277242"/>
            <a:ext cx="2417100" cy="593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01</a:t>
            </a:r>
            <a:endParaRPr dirty="0"/>
          </a:p>
        </p:txBody>
      </p:sp>
      <p:sp>
        <p:nvSpPr>
          <p:cNvPr id="1400" name="Google Shape;1400;p36"/>
          <p:cNvSpPr txBox="1">
            <a:spLocks noGrp="1"/>
          </p:cNvSpPr>
          <p:nvPr>
            <p:ph type="title" idx="4"/>
          </p:nvPr>
        </p:nvSpPr>
        <p:spPr>
          <a:xfrm>
            <a:off x="3363450" y="1282496"/>
            <a:ext cx="2417100" cy="593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2">
                    <a:lumMod val="40000"/>
                    <a:lumOff val="60000"/>
                  </a:schemeClr>
                </a:solidFill>
              </a:rPr>
              <a:t>02</a:t>
            </a:r>
            <a:endParaRPr dirty="0">
              <a:solidFill>
                <a:schemeClr val="tx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401" name="Google Shape;1401;p36"/>
          <p:cNvSpPr txBox="1">
            <a:spLocks noGrp="1"/>
          </p:cNvSpPr>
          <p:nvPr>
            <p:ph type="title" idx="7"/>
          </p:nvPr>
        </p:nvSpPr>
        <p:spPr>
          <a:xfrm>
            <a:off x="6500468" y="1216342"/>
            <a:ext cx="2417100" cy="593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rgbClr val="7030A0"/>
                </a:solidFill>
              </a:rPr>
              <a:t>03</a:t>
            </a:r>
            <a:endParaRPr dirty="0">
              <a:solidFill>
                <a:srgbClr val="7030A0"/>
              </a:solidFill>
            </a:endParaRPr>
          </a:p>
        </p:txBody>
      </p:sp>
      <p:sp>
        <p:nvSpPr>
          <p:cNvPr id="1402" name="Google Shape;1402;p36"/>
          <p:cNvSpPr txBox="1">
            <a:spLocks noGrp="1"/>
          </p:cNvSpPr>
          <p:nvPr>
            <p:ph type="title" idx="13"/>
          </p:nvPr>
        </p:nvSpPr>
        <p:spPr>
          <a:xfrm>
            <a:off x="1544761" y="3331508"/>
            <a:ext cx="2417100" cy="593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rgbClr val="FFFF00"/>
                </a:solidFill>
              </a:rPr>
              <a:t>04</a:t>
            </a:r>
            <a:endParaRPr dirty="0">
              <a:solidFill>
                <a:srgbClr val="FFFF00"/>
              </a:solidFill>
            </a:endParaRPr>
          </a:p>
        </p:txBody>
      </p:sp>
      <p:sp>
        <p:nvSpPr>
          <p:cNvPr id="1403" name="Google Shape;1403;p36"/>
          <p:cNvSpPr txBox="1">
            <a:spLocks noGrp="1"/>
          </p:cNvSpPr>
          <p:nvPr>
            <p:ph type="title" idx="16"/>
          </p:nvPr>
        </p:nvSpPr>
        <p:spPr>
          <a:xfrm>
            <a:off x="4301750" y="3069370"/>
            <a:ext cx="2417100" cy="593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2">
                    <a:lumMod val="60000"/>
                    <a:lumOff val="40000"/>
                  </a:schemeClr>
                </a:solidFill>
              </a:rPr>
              <a:t>05</a:t>
            </a:r>
            <a:endParaRPr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405" name="Google Shape;1405;p36"/>
          <p:cNvSpPr txBox="1">
            <a:spLocks noGrp="1"/>
          </p:cNvSpPr>
          <p:nvPr>
            <p:ph type="subTitle" idx="1"/>
          </p:nvPr>
        </p:nvSpPr>
        <p:spPr>
          <a:xfrm>
            <a:off x="681750" y="1680443"/>
            <a:ext cx="2417100" cy="99672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>
              <a:spcAft>
                <a:spcPts val="1600"/>
              </a:spcAft>
            </a:pPr>
            <a:r>
              <a:rPr lang="id-ID" dirty="0">
                <a:solidFill>
                  <a:srgbClr val="000000"/>
                </a:solidFill>
              </a:rPr>
              <a:t>Pelaksanan </a:t>
            </a:r>
            <a:r>
              <a:rPr lang="en-US" dirty="0">
                <a:solidFill>
                  <a:srgbClr val="000000"/>
                </a:solidFill>
              </a:rPr>
              <a:t>p</a:t>
            </a:r>
            <a:r>
              <a:rPr lang="id-ID" dirty="0">
                <a:solidFill>
                  <a:srgbClr val="000000"/>
                </a:solidFill>
              </a:rPr>
              <a:t>resentasi dan wawancara seleksi PNS berprestasi Jawa Barat 2021, mempertimbangkan/mengi</a:t>
            </a:r>
            <a:r>
              <a:rPr lang="en-US" dirty="0">
                <a:solidFill>
                  <a:srgbClr val="000000"/>
                </a:solidFill>
              </a:rPr>
              <a:t> </a:t>
            </a:r>
            <a:r>
              <a:rPr lang="id-ID" dirty="0">
                <a:solidFill>
                  <a:srgbClr val="000000"/>
                </a:solidFill>
              </a:rPr>
              <a:t>kuti Protokol Pencegahan Penyebaran COVID-19, yaitu Jaga Jarak, Cuci Tangan, dan Memakai Masker.</a:t>
            </a:r>
          </a:p>
        </p:txBody>
      </p:sp>
      <p:sp>
        <p:nvSpPr>
          <p:cNvPr id="1407" name="Google Shape;1407;p36"/>
          <p:cNvSpPr txBox="1">
            <a:spLocks noGrp="1"/>
          </p:cNvSpPr>
          <p:nvPr>
            <p:ph type="subTitle" idx="5"/>
          </p:nvPr>
        </p:nvSpPr>
        <p:spPr>
          <a:xfrm>
            <a:off x="3363450" y="1804706"/>
            <a:ext cx="2861168" cy="748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>
              <a:spcAft>
                <a:spcPts val="1600"/>
              </a:spcAft>
            </a:pPr>
            <a:r>
              <a:rPr lang="id-ID" dirty="0">
                <a:solidFill>
                  <a:srgbClr val="000000"/>
                </a:solidFill>
              </a:rPr>
              <a:t>Waktu penyajian/presentasi dan pendalaman materi  peserta diperbolehkan untuk membuka masker</a:t>
            </a:r>
          </a:p>
        </p:txBody>
      </p:sp>
      <p:sp>
        <p:nvSpPr>
          <p:cNvPr id="1409" name="Google Shape;1409;p36"/>
          <p:cNvSpPr txBox="1">
            <a:spLocks noGrp="1"/>
          </p:cNvSpPr>
          <p:nvPr>
            <p:ph type="subTitle" idx="8"/>
          </p:nvPr>
        </p:nvSpPr>
        <p:spPr>
          <a:xfrm>
            <a:off x="6453639" y="1775975"/>
            <a:ext cx="2417100" cy="748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>
              <a:spcAft>
                <a:spcPts val="1600"/>
              </a:spcAft>
            </a:pPr>
            <a:r>
              <a:rPr lang="id-ID" dirty="0">
                <a:solidFill>
                  <a:srgbClr val="000000"/>
                </a:solidFill>
              </a:rPr>
              <a:t>Pela</a:t>
            </a:r>
            <a:r>
              <a:rPr lang="en-US" dirty="0">
                <a:solidFill>
                  <a:srgbClr val="000000"/>
                </a:solidFill>
              </a:rPr>
              <a:t>k</a:t>
            </a:r>
            <a:r>
              <a:rPr lang="id-ID" dirty="0">
                <a:solidFill>
                  <a:srgbClr val="000000"/>
                </a:solidFill>
              </a:rPr>
              <a:t>sanaan Presentasi dan wawancara seleksi PNS berprestasi Jawa Barat 2021 di laksanakan secara </a:t>
            </a:r>
            <a:r>
              <a:rPr lang="id-ID" i="1" dirty="0">
                <a:solidFill>
                  <a:srgbClr val="000000"/>
                </a:solidFill>
              </a:rPr>
              <a:t>Online</a:t>
            </a:r>
            <a:r>
              <a:rPr lang="id-ID" dirty="0">
                <a:solidFill>
                  <a:srgbClr val="000000"/>
                </a:solidFill>
              </a:rPr>
              <a:t> dengan menggunakan </a:t>
            </a:r>
            <a:r>
              <a:rPr lang="id-ID" i="1" dirty="0">
                <a:solidFill>
                  <a:srgbClr val="000000"/>
                </a:solidFill>
              </a:rPr>
              <a:t>Zoom Meeting</a:t>
            </a:r>
          </a:p>
        </p:txBody>
      </p:sp>
      <p:sp>
        <p:nvSpPr>
          <p:cNvPr id="1411" name="Google Shape;1411;p36"/>
          <p:cNvSpPr txBox="1">
            <a:spLocks noGrp="1"/>
          </p:cNvSpPr>
          <p:nvPr>
            <p:ph type="subTitle" idx="14"/>
          </p:nvPr>
        </p:nvSpPr>
        <p:spPr>
          <a:xfrm>
            <a:off x="1544761" y="3809434"/>
            <a:ext cx="3108177" cy="1894299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>
              <a:spcAft>
                <a:spcPts val="1600"/>
              </a:spcAft>
            </a:pPr>
            <a:r>
              <a:rPr lang="id-ID" dirty="0">
                <a:solidFill>
                  <a:srgbClr val="000000"/>
                </a:solidFill>
              </a:rPr>
              <a:t>Pastikan Peserta sudah menginstal Aplikasi </a:t>
            </a:r>
            <a:r>
              <a:rPr lang="id-ID" i="1" dirty="0">
                <a:solidFill>
                  <a:srgbClr val="000000"/>
                </a:solidFill>
              </a:rPr>
              <a:t>Zoom meeting</a:t>
            </a:r>
          </a:p>
        </p:txBody>
      </p:sp>
      <p:sp>
        <p:nvSpPr>
          <p:cNvPr id="1413" name="Google Shape;1413;p36"/>
          <p:cNvSpPr txBox="1">
            <a:spLocks noGrp="1"/>
          </p:cNvSpPr>
          <p:nvPr>
            <p:ph type="subTitle" idx="17"/>
          </p:nvPr>
        </p:nvSpPr>
        <p:spPr>
          <a:xfrm>
            <a:off x="4431221" y="3489843"/>
            <a:ext cx="2861168" cy="1302841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>
              <a:spcAft>
                <a:spcPts val="1600"/>
              </a:spcAft>
            </a:pPr>
            <a:r>
              <a:rPr lang="id-ID" i="1" dirty="0">
                <a:solidFill>
                  <a:srgbClr val="000000"/>
                </a:solidFill>
              </a:rPr>
              <a:t>Link Zoom meeting </a:t>
            </a:r>
            <a:r>
              <a:rPr lang="id-ID" dirty="0">
                <a:solidFill>
                  <a:srgbClr val="000000"/>
                </a:solidFill>
              </a:rPr>
              <a:t>akan di share oleh panitia kepada peserta 1 (Satu) hari sebelum pelaksanaan Presentasi dan wawancara seleksi PNS berprestasi Jawa Barat 2021  Online di mulai.</a:t>
            </a:r>
          </a:p>
        </p:txBody>
      </p:sp>
      <p:sp>
        <p:nvSpPr>
          <p:cNvPr id="1414" name="Google Shape;1414;p36"/>
          <p:cNvSpPr txBox="1">
            <a:spLocks noGrp="1"/>
          </p:cNvSpPr>
          <p:nvPr>
            <p:ph type="title" idx="18"/>
          </p:nvPr>
        </p:nvSpPr>
        <p:spPr>
          <a:xfrm>
            <a:off x="1166739" y="99740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buClrTx/>
              <a:buFontTx/>
            </a:pPr>
            <a:r>
              <a:rPr lang="id-ID" sz="1600" b="1" dirty="0">
                <a:solidFill>
                  <a:schemeClr val="bg1"/>
                </a:solidFill>
                <a:latin typeface="Barlow" panose="020B0604020202020204" charset="0"/>
              </a:rPr>
              <a:t>PANDUAN PRESENTASI DAN WAWANCARA</a:t>
            </a:r>
            <a:br>
              <a:rPr lang="id-ID" sz="1600" b="1" dirty="0">
                <a:solidFill>
                  <a:schemeClr val="bg1"/>
                </a:solidFill>
                <a:latin typeface="Barlow" panose="020B0604020202020204" charset="0"/>
              </a:rPr>
            </a:br>
            <a:r>
              <a:rPr lang="id-ID" sz="1600" b="1" dirty="0">
                <a:solidFill>
                  <a:schemeClr val="bg1"/>
                </a:solidFill>
                <a:latin typeface="Barlow" panose="020B0604020202020204" charset="0"/>
              </a:rPr>
              <a:t>PESERTA SELEKSI CALON PENERIMA PENGHARGAAN GUBERNUR BAGI PNS BERPRESTASI KABUPATEN/KOTA PROVINSI JAWA BARAT  TAHUN 2021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5671CAB-5B33-47CF-868F-F9F9D1EDE8DD}"/>
              </a:ext>
            </a:extLst>
          </p:cNvPr>
          <p:cNvGrpSpPr/>
          <p:nvPr/>
        </p:nvGrpSpPr>
        <p:grpSpPr>
          <a:xfrm>
            <a:off x="87968" y="72537"/>
            <a:ext cx="1165064" cy="643093"/>
            <a:chOff x="9921341" y="214971"/>
            <a:chExt cx="2195146" cy="1211678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449249F0-6911-4000-A45A-D1FA2133F37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486" t="10276" r="10972" b="7017"/>
            <a:stretch/>
          </p:blipFill>
          <p:spPr>
            <a:xfrm>
              <a:off x="11019207" y="243065"/>
              <a:ext cx="1097280" cy="1155491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C7A96FDE-0D85-4E40-B726-85D5AB8F5B4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11200"/>
                      </a14:imgEffect>
                      <a14:imgEffect>
                        <a14:brightnessContrast bright="4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21341" y="214971"/>
              <a:ext cx="1022353" cy="1211678"/>
            </a:xfrm>
            <a:prstGeom prst="rect">
              <a:avLst/>
            </a:prstGeom>
          </p:spPr>
        </p:pic>
      </p:grpSp>
    </p:spTree>
  </p:cSld>
  <p:clrMapOvr>
    <a:masterClrMapping/>
  </p:clrMapOvr>
</p:sld>
</file>

<file path=ppt/slides/slide2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47000">
              <a:srgbClr val="00B0F0"/>
            </a:gs>
            <a:gs pos="0">
              <a:schemeClr val="accent1">
                <a:lumMod val="5000"/>
                <a:lumOff val="95000"/>
              </a:schemeClr>
            </a:gs>
            <a:gs pos="65000">
              <a:schemeClr val="accent6">
                <a:lumMod val="50000"/>
                <a:lumOff val="50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89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Shape 13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9" name="Google Shape;1399;p36"/>
          <p:cNvSpPr txBox="1">
            <a:spLocks noGrp="1"/>
          </p:cNvSpPr>
          <p:nvPr>
            <p:ph type="title" idx="2"/>
          </p:nvPr>
        </p:nvSpPr>
        <p:spPr>
          <a:xfrm>
            <a:off x="226432" y="1262877"/>
            <a:ext cx="2417100" cy="593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06</a:t>
            </a:r>
            <a:endParaRPr dirty="0"/>
          </a:p>
        </p:txBody>
      </p:sp>
      <p:sp>
        <p:nvSpPr>
          <p:cNvPr id="1400" name="Google Shape;1400;p36"/>
          <p:cNvSpPr txBox="1">
            <a:spLocks noGrp="1"/>
          </p:cNvSpPr>
          <p:nvPr>
            <p:ph type="title" idx="4"/>
          </p:nvPr>
        </p:nvSpPr>
        <p:spPr>
          <a:xfrm>
            <a:off x="3363450" y="1282496"/>
            <a:ext cx="2417100" cy="593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rgbClr val="FFFFFF"/>
                </a:solidFill>
              </a:rPr>
              <a:t>07</a:t>
            </a:r>
            <a:endParaRPr dirty="0">
              <a:solidFill>
                <a:srgbClr val="FFFFFF"/>
              </a:solidFill>
            </a:endParaRPr>
          </a:p>
        </p:txBody>
      </p:sp>
      <p:sp>
        <p:nvSpPr>
          <p:cNvPr id="1401" name="Google Shape;1401;p36"/>
          <p:cNvSpPr txBox="1">
            <a:spLocks noGrp="1"/>
          </p:cNvSpPr>
          <p:nvPr>
            <p:ph type="title" idx="7"/>
          </p:nvPr>
        </p:nvSpPr>
        <p:spPr>
          <a:xfrm>
            <a:off x="6500468" y="1216342"/>
            <a:ext cx="2417100" cy="593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08</a:t>
            </a:r>
            <a:endParaRPr dirty="0"/>
          </a:p>
        </p:txBody>
      </p:sp>
      <p:sp>
        <p:nvSpPr>
          <p:cNvPr id="1402" name="Google Shape;1402;p36"/>
          <p:cNvSpPr txBox="1">
            <a:spLocks noGrp="1"/>
          </p:cNvSpPr>
          <p:nvPr>
            <p:ph type="title" idx="13"/>
          </p:nvPr>
        </p:nvSpPr>
        <p:spPr>
          <a:xfrm>
            <a:off x="1025393" y="3267605"/>
            <a:ext cx="2417100" cy="593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rgbClr val="008800"/>
                </a:solidFill>
              </a:rPr>
              <a:t>09</a:t>
            </a:r>
            <a:endParaRPr dirty="0">
              <a:solidFill>
                <a:srgbClr val="008800"/>
              </a:solidFill>
            </a:endParaRPr>
          </a:p>
        </p:txBody>
      </p:sp>
      <p:sp>
        <p:nvSpPr>
          <p:cNvPr id="1403" name="Google Shape;1403;p36"/>
          <p:cNvSpPr txBox="1">
            <a:spLocks noGrp="1"/>
          </p:cNvSpPr>
          <p:nvPr>
            <p:ph type="title" idx="16"/>
          </p:nvPr>
        </p:nvSpPr>
        <p:spPr>
          <a:xfrm>
            <a:off x="4330700" y="2919340"/>
            <a:ext cx="2417100" cy="593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2">
                    <a:lumMod val="60000"/>
                    <a:lumOff val="40000"/>
                  </a:schemeClr>
                </a:solidFill>
              </a:rPr>
              <a:t>10</a:t>
            </a:r>
            <a:endParaRPr dirty="0">
              <a:solidFill>
                <a:schemeClr val="tx2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405" name="Google Shape;1405;p36"/>
          <p:cNvSpPr txBox="1">
            <a:spLocks noGrp="1"/>
          </p:cNvSpPr>
          <p:nvPr>
            <p:ph type="subTitle" idx="1"/>
          </p:nvPr>
        </p:nvSpPr>
        <p:spPr>
          <a:xfrm>
            <a:off x="681750" y="1680443"/>
            <a:ext cx="2417100" cy="99672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>
              <a:spcAft>
                <a:spcPts val="1600"/>
              </a:spcAft>
            </a:pPr>
            <a:r>
              <a:rPr lang="id-ID" dirty="0">
                <a:solidFill>
                  <a:srgbClr val="000000"/>
                </a:solidFill>
              </a:rPr>
              <a:t>Setiap peserta wajib menggunakan </a:t>
            </a:r>
            <a:r>
              <a:rPr lang="id-ID" i="1" dirty="0">
                <a:solidFill>
                  <a:srgbClr val="000000"/>
                </a:solidFill>
              </a:rPr>
              <a:t>Background Zoom Meeting</a:t>
            </a:r>
            <a:r>
              <a:rPr lang="id-ID" dirty="0">
                <a:solidFill>
                  <a:srgbClr val="000000"/>
                </a:solidFill>
              </a:rPr>
              <a:t> yang telah ditentukan oleh panitia (</a:t>
            </a:r>
            <a:r>
              <a:rPr lang="id-ID" i="1" dirty="0">
                <a:solidFill>
                  <a:srgbClr val="000000"/>
                </a:solidFill>
              </a:rPr>
              <a:t>Background Virtual Zoom </a:t>
            </a:r>
            <a:r>
              <a:rPr lang="id-ID" dirty="0">
                <a:solidFill>
                  <a:srgbClr val="000000"/>
                </a:solidFill>
              </a:rPr>
              <a:t>Meeting akan dishare via WAG oleh Panitia)</a:t>
            </a:r>
          </a:p>
        </p:txBody>
      </p:sp>
      <p:sp>
        <p:nvSpPr>
          <p:cNvPr id="1407" name="Google Shape;1407;p36"/>
          <p:cNvSpPr txBox="1">
            <a:spLocks noGrp="1"/>
          </p:cNvSpPr>
          <p:nvPr>
            <p:ph type="subTitle" idx="5"/>
          </p:nvPr>
        </p:nvSpPr>
        <p:spPr>
          <a:xfrm>
            <a:off x="3363450" y="1804706"/>
            <a:ext cx="2861168" cy="748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>
              <a:spcAft>
                <a:spcPts val="1600"/>
              </a:spcAft>
            </a:pPr>
            <a:r>
              <a:rPr lang="sv-SE" dirty="0">
                <a:solidFill>
                  <a:srgbClr val="000000"/>
                </a:solidFill>
              </a:rPr>
              <a:t>Pastikan tempat/lokasi Presentasi dan wawancara online, jaringan internet dalam kondisi baik dan kuota intenet mencukupi.</a:t>
            </a:r>
          </a:p>
        </p:txBody>
      </p:sp>
      <p:sp>
        <p:nvSpPr>
          <p:cNvPr id="1409" name="Google Shape;1409;p36"/>
          <p:cNvSpPr txBox="1">
            <a:spLocks noGrp="1"/>
          </p:cNvSpPr>
          <p:nvPr>
            <p:ph type="subTitle" idx="8"/>
          </p:nvPr>
        </p:nvSpPr>
        <p:spPr>
          <a:xfrm>
            <a:off x="6453639" y="1775975"/>
            <a:ext cx="2417100" cy="748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>
              <a:spcAft>
                <a:spcPts val="1600"/>
              </a:spcAft>
            </a:pPr>
            <a:r>
              <a:rPr lang="id-ID" dirty="0">
                <a:solidFill>
                  <a:srgbClr val="000000"/>
                </a:solidFill>
              </a:rPr>
              <a:t>Seluruh peserta wajib mengikuti acara pembukaan seleksi Presentasi dan Wawancara PNS berprestasi Jawa Barat 2021</a:t>
            </a:r>
          </a:p>
        </p:txBody>
      </p:sp>
      <p:sp>
        <p:nvSpPr>
          <p:cNvPr id="1411" name="Google Shape;1411;p36"/>
          <p:cNvSpPr txBox="1">
            <a:spLocks noGrp="1"/>
          </p:cNvSpPr>
          <p:nvPr>
            <p:ph type="subTitle" idx="14"/>
          </p:nvPr>
        </p:nvSpPr>
        <p:spPr>
          <a:xfrm>
            <a:off x="1544761" y="3662770"/>
            <a:ext cx="3108177" cy="1894299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>
              <a:spcAft>
                <a:spcPts val="1600"/>
              </a:spcAft>
            </a:pPr>
            <a:r>
              <a:rPr lang="id-ID" dirty="0">
                <a:solidFill>
                  <a:srgbClr val="000000"/>
                </a:solidFill>
              </a:rPr>
              <a:t>Peserta wajib hadir dan masuk ke ruangan Zoom meeting Presentasi dan wawancara 20 menit sebelum Presentasi dan wawancara online di mulai sesuai dengan Jadwal yang telah ditentukan (</a:t>
            </a:r>
            <a:r>
              <a:rPr lang="id-ID" i="1" dirty="0">
                <a:solidFill>
                  <a:srgbClr val="000000"/>
                </a:solidFill>
              </a:rPr>
              <a:t>Waiting List</a:t>
            </a:r>
            <a:r>
              <a:rPr lang="id-ID" dirty="0">
                <a:solidFill>
                  <a:srgbClr val="000000"/>
                </a:solidFill>
              </a:rPr>
              <a:t>).</a:t>
            </a:r>
          </a:p>
        </p:txBody>
      </p:sp>
      <p:sp>
        <p:nvSpPr>
          <p:cNvPr id="1413" name="Google Shape;1413;p36"/>
          <p:cNvSpPr txBox="1">
            <a:spLocks noGrp="1"/>
          </p:cNvSpPr>
          <p:nvPr>
            <p:ph type="subTitle" idx="17"/>
          </p:nvPr>
        </p:nvSpPr>
        <p:spPr>
          <a:xfrm>
            <a:off x="4572000" y="3276131"/>
            <a:ext cx="2861168" cy="1302841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>
              <a:spcAft>
                <a:spcPts val="1600"/>
              </a:spcAft>
            </a:pPr>
            <a:r>
              <a:rPr lang="id-ID" dirty="0">
                <a:solidFill>
                  <a:srgbClr val="000000"/>
                </a:solidFill>
              </a:rPr>
              <a:t>Jika peserta 20 Menit belum masuk ruangan Presentasi melalui Zoom meeting, maka peserta yang bersangkutan akan diganti dengan peserta urutan berikutnya, dan peserta yang bersangkutan akan menjadi urutan yang terakhir.</a:t>
            </a:r>
          </a:p>
        </p:txBody>
      </p:sp>
      <p:sp>
        <p:nvSpPr>
          <p:cNvPr id="1414" name="Google Shape;1414;p36"/>
          <p:cNvSpPr txBox="1">
            <a:spLocks noGrp="1"/>
          </p:cNvSpPr>
          <p:nvPr>
            <p:ph type="title" idx="18"/>
          </p:nvPr>
        </p:nvSpPr>
        <p:spPr>
          <a:xfrm>
            <a:off x="1166739" y="99740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buClrTx/>
              <a:buFontTx/>
            </a:pPr>
            <a:r>
              <a:rPr lang="id-ID" sz="1600" b="1" dirty="0">
                <a:solidFill>
                  <a:schemeClr val="bg1"/>
                </a:solidFill>
                <a:latin typeface="Barlow" panose="020B0604020202020204" charset="0"/>
              </a:rPr>
              <a:t>PANDUAN PRESENTASI DAN WAWANCARA</a:t>
            </a:r>
            <a:br>
              <a:rPr lang="id-ID" sz="1600" b="1" dirty="0">
                <a:solidFill>
                  <a:schemeClr val="bg1"/>
                </a:solidFill>
                <a:latin typeface="Barlow" panose="020B0604020202020204" charset="0"/>
              </a:rPr>
            </a:br>
            <a:r>
              <a:rPr lang="id-ID" sz="1600" b="1" dirty="0">
                <a:solidFill>
                  <a:schemeClr val="bg1"/>
                </a:solidFill>
                <a:latin typeface="Barlow" panose="020B0604020202020204" charset="0"/>
              </a:rPr>
              <a:t>PESERTA SELEKSI CALON PENERIMA PENGHARGAAN GUBERNUR BAGI PNS BERPRESTASI KABUPATEN/KOTA PROVINSI JAWA BARAT  TAHUN 2021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5671CAB-5B33-47CF-868F-F9F9D1EDE8DD}"/>
              </a:ext>
            </a:extLst>
          </p:cNvPr>
          <p:cNvGrpSpPr/>
          <p:nvPr/>
        </p:nvGrpSpPr>
        <p:grpSpPr>
          <a:xfrm>
            <a:off x="87968" y="72537"/>
            <a:ext cx="1165064" cy="643093"/>
            <a:chOff x="9921341" y="214971"/>
            <a:chExt cx="2195146" cy="1211678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449249F0-6911-4000-A45A-D1FA2133F37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486" t="10276" r="10972" b="7017"/>
            <a:stretch/>
          </p:blipFill>
          <p:spPr>
            <a:xfrm>
              <a:off x="11019207" y="243065"/>
              <a:ext cx="1097280" cy="1155491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C7A96FDE-0D85-4E40-B726-85D5AB8F5B4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11200"/>
                      </a14:imgEffect>
                      <a14:imgEffect>
                        <a14:brightnessContrast bright="4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21341" y="214971"/>
              <a:ext cx="1022353" cy="121167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649441798"/>
      </p:ext>
    </p:extLst>
  </p:cSld>
  <p:clrMapOvr>
    <a:masterClrMapping/>
  </p:clrMapOvr>
</p:sld>
</file>

<file path=ppt/slides/slide2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47000">
              <a:srgbClr val="00B0F0"/>
            </a:gs>
            <a:gs pos="0">
              <a:schemeClr val="accent1">
                <a:lumMod val="5000"/>
                <a:lumOff val="95000"/>
              </a:schemeClr>
            </a:gs>
            <a:gs pos="65000">
              <a:schemeClr val="accent6">
                <a:lumMod val="50000"/>
                <a:lumOff val="50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89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Shape 13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9" name="Google Shape;1399;p36"/>
          <p:cNvSpPr txBox="1">
            <a:spLocks noGrp="1"/>
          </p:cNvSpPr>
          <p:nvPr>
            <p:ph type="title" idx="2"/>
          </p:nvPr>
        </p:nvSpPr>
        <p:spPr>
          <a:xfrm>
            <a:off x="323605" y="1130233"/>
            <a:ext cx="2417100" cy="593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rgbClr val="FFFF00"/>
                </a:solidFill>
              </a:rPr>
              <a:t>11</a:t>
            </a:r>
            <a:endParaRPr dirty="0">
              <a:solidFill>
                <a:srgbClr val="FFFF00"/>
              </a:solidFill>
            </a:endParaRPr>
          </a:p>
        </p:txBody>
      </p:sp>
      <p:sp>
        <p:nvSpPr>
          <p:cNvPr id="1400" name="Google Shape;1400;p36"/>
          <p:cNvSpPr txBox="1">
            <a:spLocks noGrp="1"/>
          </p:cNvSpPr>
          <p:nvPr>
            <p:ph type="title" idx="4"/>
          </p:nvPr>
        </p:nvSpPr>
        <p:spPr>
          <a:xfrm>
            <a:off x="2847142" y="1333498"/>
            <a:ext cx="2417100" cy="593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accent4">
                    <a:lumMod val="60000"/>
                    <a:lumOff val="40000"/>
                  </a:schemeClr>
                </a:solidFill>
              </a:rPr>
              <a:t>12</a:t>
            </a:r>
            <a:endParaRPr dirty="0">
              <a:solidFill>
                <a:schemeClr val="accent4">
                  <a:lumMod val="60000"/>
                  <a:lumOff val="40000"/>
                </a:schemeClr>
              </a:solidFill>
            </a:endParaRPr>
          </a:p>
        </p:txBody>
      </p:sp>
      <p:sp>
        <p:nvSpPr>
          <p:cNvPr id="1401" name="Google Shape;1401;p36"/>
          <p:cNvSpPr txBox="1">
            <a:spLocks noGrp="1"/>
          </p:cNvSpPr>
          <p:nvPr>
            <p:ph type="title" idx="7"/>
          </p:nvPr>
        </p:nvSpPr>
        <p:spPr>
          <a:xfrm>
            <a:off x="5855797" y="1644538"/>
            <a:ext cx="2417100" cy="593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rgbClr val="00B050"/>
                </a:solidFill>
              </a:rPr>
              <a:t>13</a:t>
            </a:r>
            <a:endParaRPr dirty="0">
              <a:solidFill>
                <a:srgbClr val="00B050"/>
              </a:solidFill>
            </a:endParaRPr>
          </a:p>
        </p:txBody>
      </p:sp>
      <p:sp>
        <p:nvSpPr>
          <p:cNvPr id="1405" name="Google Shape;1405;p36"/>
          <p:cNvSpPr txBox="1">
            <a:spLocks noGrp="1"/>
          </p:cNvSpPr>
          <p:nvPr>
            <p:ph type="subTitle" idx="1"/>
          </p:nvPr>
        </p:nvSpPr>
        <p:spPr>
          <a:xfrm>
            <a:off x="413937" y="1551395"/>
            <a:ext cx="2684913" cy="99672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indent="0">
              <a:spcAft>
                <a:spcPts val="1600"/>
              </a:spcAft>
              <a:buClrTx/>
            </a:pPr>
            <a:r>
              <a:rPr lang="id-ID" dirty="0">
                <a:solidFill>
                  <a:schemeClr val="bg1"/>
                </a:solidFill>
                <a:latin typeface="Barlow Light" panose="020B0604020202020204" charset="0"/>
              </a:rPr>
              <a:t>Peserta wajib mengenakan pakaian Batik yang rapi dan berkerah</a:t>
            </a:r>
          </a:p>
        </p:txBody>
      </p:sp>
      <p:sp>
        <p:nvSpPr>
          <p:cNvPr id="1407" name="Google Shape;1407;p36"/>
          <p:cNvSpPr txBox="1">
            <a:spLocks noGrp="1"/>
          </p:cNvSpPr>
          <p:nvPr>
            <p:ph type="subTitle" idx="5"/>
          </p:nvPr>
        </p:nvSpPr>
        <p:spPr>
          <a:xfrm>
            <a:off x="2740705" y="1919132"/>
            <a:ext cx="2861168" cy="748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indent="0">
              <a:spcAft>
                <a:spcPts val="1600"/>
              </a:spcAft>
              <a:buClrTx/>
            </a:pPr>
            <a:r>
              <a:rPr lang="id-ID" dirty="0">
                <a:solidFill>
                  <a:schemeClr val="bg1"/>
                </a:solidFill>
                <a:latin typeface="Barlow Light" panose="020B0604020202020204" charset="0"/>
              </a:rPr>
              <a:t>Peserta diwajibkan untuk menyiapkan bahan presentasi dalam bentuk Power Point (PPT) dan Biodata (Riwayat Hidup)</a:t>
            </a:r>
          </a:p>
        </p:txBody>
      </p:sp>
      <p:sp>
        <p:nvSpPr>
          <p:cNvPr id="1409" name="Google Shape;1409;p36"/>
          <p:cNvSpPr txBox="1">
            <a:spLocks noGrp="1"/>
          </p:cNvSpPr>
          <p:nvPr>
            <p:ph type="subTitle" idx="8"/>
          </p:nvPr>
        </p:nvSpPr>
        <p:spPr>
          <a:xfrm>
            <a:off x="5749291" y="2157362"/>
            <a:ext cx="2831037" cy="1344293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>
              <a:buClrTx/>
            </a:pPr>
            <a:r>
              <a:rPr lang="en-US" dirty="0" err="1">
                <a:solidFill>
                  <a:srgbClr val="000000"/>
                </a:solidFill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Makalah</a:t>
            </a:r>
            <a:r>
              <a:rPr lang="en-US" dirty="0">
                <a:solidFill>
                  <a:srgbClr val="000000"/>
                </a:solidFill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, </a:t>
            </a:r>
            <a:r>
              <a:rPr lang="en-US" dirty="0" err="1">
                <a:solidFill>
                  <a:srgbClr val="000000"/>
                </a:solidFill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Bahan</a:t>
            </a:r>
            <a:r>
              <a:rPr lang="en-US" dirty="0">
                <a:solidFill>
                  <a:srgbClr val="000000"/>
                </a:solidFill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resentasi</a:t>
            </a:r>
            <a:r>
              <a:rPr lang="en-US" dirty="0">
                <a:solidFill>
                  <a:srgbClr val="000000"/>
                </a:solidFill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dan biodata (</a:t>
            </a:r>
            <a:r>
              <a:rPr lang="en-US" i="1" dirty="0">
                <a:solidFill>
                  <a:srgbClr val="000000"/>
                </a:solidFill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Softcopy</a:t>
            </a:r>
            <a:r>
              <a:rPr lang="en-US" dirty="0">
                <a:solidFill>
                  <a:srgbClr val="000000"/>
                </a:solidFill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) </a:t>
            </a:r>
            <a:r>
              <a:rPr lang="en-US" dirty="0" err="1">
                <a:solidFill>
                  <a:srgbClr val="000000"/>
                </a:solidFill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dikirim</a:t>
            </a:r>
            <a:r>
              <a:rPr lang="en-US" dirty="0">
                <a:solidFill>
                  <a:srgbClr val="000000"/>
                </a:solidFill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ke</a:t>
            </a:r>
            <a:r>
              <a:rPr lang="en-US" dirty="0">
                <a:solidFill>
                  <a:srgbClr val="000000"/>
                </a:solidFill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u="sng" dirty="0">
                <a:solidFill>
                  <a:schemeClr val="bg1">
                    <a:lumMod val="10000"/>
                    <a:lumOff val="90000"/>
                  </a:schemeClr>
                </a:solidFill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https://bit.ly/pns_berprestasi_jabar_2021   </a:t>
            </a:r>
            <a:r>
              <a:rPr lang="en-US" u="sng" dirty="0">
                <a:solidFill>
                  <a:srgbClr val="000000"/>
                </a:solidFill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(paling </a:t>
            </a:r>
            <a:r>
              <a:rPr lang="en-US" u="sng" dirty="0" err="1">
                <a:solidFill>
                  <a:srgbClr val="000000"/>
                </a:solidFill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lambat</a:t>
            </a:r>
            <a:r>
              <a:rPr lang="en-US" u="sng" dirty="0">
                <a:solidFill>
                  <a:srgbClr val="000000"/>
                </a:solidFill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Hari Rabu </a:t>
            </a:r>
            <a:r>
              <a:rPr lang="en-US" u="sng" dirty="0" err="1">
                <a:solidFill>
                  <a:srgbClr val="000000"/>
                </a:solidFill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tanggal</a:t>
            </a:r>
            <a:r>
              <a:rPr lang="en-US" u="sng" dirty="0">
                <a:solidFill>
                  <a:srgbClr val="000000"/>
                </a:solidFill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15 September  2021)</a:t>
            </a:r>
            <a:endParaRPr lang="en-ID" dirty="0">
              <a:solidFill>
                <a:srgbClr val="000000"/>
              </a:solidFill>
              <a:latin typeface="Barlow Light" panose="020B060402020202020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1414" name="Google Shape;1414;p36"/>
          <p:cNvSpPr txBox="1">
            <a:spLocks noGrp="1"/>
          </p:cNvSpPr>
          <p:nvPr>
            <p:ph type="title" idx="18"/>
          </p:nvPr>
        </p:nvSpPr>
        <p:spPr>
          <a:xfrm>
            <a:off x="1166739" y="99740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buClrTx/>
              <a:buFontTx/>
            </a:pPr>
            <a:r>
              <a:rPr lang="id-ID" sz="1600" b="1" dirty="0">
                <a:solidFill>
                  <a:schemeClr val="bg1"/>
                </a:solidFill>
                <a:latin typeface="Barlow" panose="020B0604020202020204" charset="0"/>
              </a:rPr>
              <a:t>PANDUAN PRESENTASI DAN WAWANCARA</a:t>
            </a:r>
            <a:br>
              <a:rPr lang="id-ID" sz="1600" b="1" dirty="0">
                <a:solidFill>
                  <a:schemeClr val="bg1"/>
                </a:solidFill>
                <a:latin typeface="Barlow" panose="020B0604020202020204" charset="0"/>
              </a:rPr>
            </a:br>
            <a:r>
              <a:rPr lang="id-ID" sz="1600" b="1" dirty="0">
                <a:solidFill>
                  <a:schemeClr val="bg1"/>
                </a:solidFill>
                <a:latin typeface="Barlow" panose="020B0604020202020204" charset="0"/>
              </a:rPr>
              <a:t>PESERTA SELEKSI CALON PENERIMA PENGHARGAAN GUBERNUR BAGI PNS BERPRESTASI KABUPATEN/KOTA PROVINSI JAWA BARAT  TAHUN 2021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5671CAB-5B33-47CF-868F-F9F9D1EDE8DD}"/>
              </a:ext>
            </a:extLst>
          </p:cNvPr>
          <p:cNvGrpSpPr/>
          <p:nvPr/>
        </p:nvGrpSpPr>
        <p:grpSpPr>
          <a:xfrm>
            <a:off x="87968" y="72537"/>
            <a:ext cx="1165064" cy="643093"/>
            <a:chOff x="9921341" y="214971"/>
            <a:chExt cx="2195146" cy="1211678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449249F0-6911-4000-A45A-D1FA2133F37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486" t="10276" r="10972" b="7017"/>
            <a:stretch/>
          </p:blipFill>
          <p:spPr>
            <a:xfrm>
              <a:off x="11019207" y="243065"/>
              <a:ext cx="1097280" cy="1155491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C7A96FDE-0D85-4E40-B726-85D5AB8F5B4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11200"/>
                      </a14:imgEffect>
                      <a14:imgEffect>
                        <a14:brightnessContrast bright="4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21341" y="214971"/>
              <a:ext cx="1022353" cy="121167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47283948"/>
      </p:ext>
    </p:extLst>
  </p:cSld>
  <p:clrMapOvr>
    <a:masterClrMapping/>
  </p:clrMapOvr>
</p:sld>
</file>

<file path=ppt/slides/slide2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47000">
              <a:srgbClr val="00B0F0"/>
            </a:gs>
            <a:gs pos="0">
              <a:schemeClr val="accent1">
                <a:lumMod val="5000"/>
                <a:lumOff val="95000"/>
              </a:schemeClr>
            </a:gs>
            <a:gs pos="65000">
              <a:schemeClr val="accent6">
                <a:lumMod val="50000"/>
                <a:lumOff val="50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89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Shape 13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99" name="Google Shape;1399;p36"/>
          <p:cNvSpPr txBox="1">
            <a:spLocks noGrp="1"/>
          </p:cNvSpPr>
          <p:nvPr>
            <p:ph type="title" idx="2"/>
          </p:nvPr>
        </p:nvSpPr>
        <p:spPr>
          <a:xfrm>
            <a:off x="226432" y="1262877"/>
            <a:ext cx="2417100" cy="593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/>
              <a:t>14</a:t>
            </a:r>
            <a:endParaRPr dirty="0"/>
          </a:p>
        </p:txBody>
      </p:sp>
      <p:sp>
        <p:nvSpPr>
          <p:cNvPr id="1400" name="Google Shape;1400;p36"/>
          <p:cNvSpPr txBox="1">
            <a:spLocks noGrp="1"/>
          </p:cNvSpPr>
          <p:nvPr>
            <p:ph type="title" idx="4"/>
          </p:nvPr>
        </p:nvSpPr>
        <p:spPr>
          <a:xfrm>
            <a:off x="3363450" y="1282496"/>
            <a:ext cx="2417100" cy="593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2">
                    <a:lumMod val="40000"/>
                    <a:lumOff val="60000"/>
                  </a:schemeClr>
                </a:solidFill>
              </a:rPr>
              <a:t>15</a:t>
            </a:r>
            <a:endParaRPr dirty="0">
              <a:solidFill>
                <a:schemeClr val="tx2">
                  <a:lumMod val="40000"/>
                  <a:lumOff val="60000"/>
                </a:schemeClr>
              </a:solidFill>
            </a:endParaRPr>
          </a:p>
        </p:txBody>
      </p:sp>
      <p:sp>
        <p:nvSpPr>
          <p:cNvPr id="1401" name="Google Shape;1401;p36"/>
          <p:cNvSpPr txBox="1">
            <a:spLocks noGrp="1"/>
          </p:cNvSpPr>
          <p:nvPr>
            <p:ph type="title" idx="7"/>
          </p:nvPr>
        </p:nvSpPr>
        <p:spPr>
          <a:xfrm>
            <a:off x="6500468" y="1216342"/>
            <a:ext cx="2417100" cy="593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rgbClr val="7030A0"/>
                </a:solidFill>
              </a:rPr>
              <a:t>16</a:t>
            </a:r>
            <a:endParaRPr dirty="0">
              <a:solidFill>
                <a:srgbClr val="7030A0"/>
              </a:solidFill>
            </a:endParaRPr>
          </a:p>
        </p:txBody>
      </p:sp>
      <p:sp>
        <p:nvSpPr>
          <p:cNvPr id="1402" name="Google Shape;1402;p36"/>
          <p:cNvSpPr txBox="1">
            <a:spLocks noGrp="1"/>
          </p:cNvSpPr>
          <p:nvPr>
            <p:ph type="title" idx="13"/>
          </p:nvPr>
        </p:nvSpPr>
        <p:spPr>
          <a:xfrm>
            <a:off x="1434982" y="3162121"/>
            <a:ext cx="2417100" cy="593400"/>
          </a:xfrm>
          <a:prstGeom prst="rect">
            <a:avLst/>
          </a:prstGeom>
        </p:spPr>
        <p:txBody>
          <a:bodyPr spcFirstLastPara="1" wrap="square" lIns="91425" tIns="91425" rIns="91425" bIns="91425" anchor="b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" dirty="0">
                <a:solidFill>
                  <a:schemeClr val="tx2">
                    <a:lumMod val="75000"/>
                  </a:schemeClr>
                </a:solidFill>
              </a:rPr>
              <a:t>17</a:t>
            </a:r>
            <a:endParaRPr dirty="0">
              <a:solidFill>
                <a:schemeClr val="tx2">
                  <a:lumMod val="75000"/>
                </a:schemeClr>
              </a:solidFill>
            </a:endParaRPr>
          </a:p>
        </p:txBody>
      </p:sp>
      <p:sp>
        <p:nvSpPr>
          <p:cNvPr id="1405" name="Google Shape;1405;p36"/>
          <p:cNvSpPr txBox="1">
            <a:spLocks noGrp="1"/>
          </p:cNvSpPr>
          <p:nvPr>
            <p:ph type="subTitle" idx="1"/>
          </p:nvPr>
        </p:nvSpPr>
        <p:spPr>
          <a:xfrm>
            <a:off x="681749" y="1680443"/>
            <a:ext cx="2548021" cy="99672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>
              <a:spcAft>
                <a:spcPts val="1600"/>
              </a:spcAft>
            </a:pPr>
            <a:r>
              <a:rPr lang="id-ID" dirty="0">
                <a:solidFill>
                  <a:srgbClr val="000000"/>
                </a:solidFill>
              </a:rPr>
              <a:t>Pembuatan dan Penyampaian </a:t>
            </a:r>
            <a:r>
              <a:rPr lang="en-US" dirty="0">
                <a:solidFill>
                  <a:srgbClr val="000000"/>
                </a:solidFill>
              </a:rPr>
              <a:t>m</a:t>
            </a:r>
            <a:r>
              <a:rPr lang="id-ID" dirty="0">
                <a:solidFill>
                  <a:srgbClr val="000000"/>
                </a:solidFill>
              </a:rPr>
              <a:t>ateri </a:t>
            </a:r>
            <a:r>
              <a:rPr lang="en-US" dirty="0">
                <a:solidFill>
                  <a:srgbClr val="000000"/>
                </a:solidFill>
              </a:rPr>
              <a:t>p</a:t>
            </a:r>
            <a:r>
              <a:rPr lang="id-ID" dirty="0">
                <a:solidFill>
                  <a:srgbClr val="000000"/>
                </a:solidFill>
              </a:rPr>
              <a:t>resentasi harus  disesuaikan dengan waktu yang telah ditentukan</a:t>
            </a:r>
          </a:p>
          <a:p>
            <a:pPr marL="0" lvl="0" indent="0" algn="l">
              <a:spcAft>
                <a:spcPts val="1600"/>
              </a:spcAft>
            </a:pPr>
            <a:endParaRPr lang="id-ID" dirty="0">
              <a:solidFill>
                <a:srgbClr val="000000"/>
              </a:solidFill>
            </a:endParaRPr>
          </a:p>
        </p:txBody>
      </p:sp>
      <p:sp>
        <p:nvSpPr>
          <p:cNvPr id="1407" name="Google Shape;1407;p36"/>
          <p:cNvSpPr txBox="1">
            <a:spLocks noGrp="1"/>
          </p:cNvSpPr>
          <p:nvPr>
            <p:ph type="subTitle" idx="5"/>
          </p:nvPr>
        </p:nvSpPr>
        <p:spPr>
          <a:xfrm>
            <a:off x="3505621" y="1737752"/>
            <a:ext cx="2861168" cy="748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>
              <a:spcAft>
                <a:spcPts val="1600"/>
              </a:spcAft>
            </a:pPr>
            <a:r>
              <a:rPr lang="sv-SE" dirty="0">
                <a:solidFill>
                  <a:srgbClr val="000000"/>
                </a:solidFill>
              </a:rPr>
              <a:t>Format (layout) dan materi presentasi yang disampaikan untuk dipresentasikan disesuaikan dengan format dan materi makalah yang sudah diajukan kepada Panitia</a:t>
            </a:r>
          </a:p>
        </p:txBody>
      </p:sp>
      <p:sp>
        <p:nvSpPr>
          <p:cNvPr id="1409" name="Google Shape;1409;p36"/>
          <p:cNvSpPr txBox="1">
            <a:spLocks noGrp="1"/>
          </p:cNvSpPr>
          <p:nvPr>
            <p:ph type="subTitle" idx="8"/>
          </p:nvPr>
        </p:nvSpPr>
        <p:spPr>
          <a:xfrm>
            <a:off x="6642640" y="1680443"/>
            <a:ext cx="2417100" cy="7482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>
              <a:spcAft>
                <a:spcPts val="1600"/>
              </a:spcAft>
            </a:pPr>
            <a:r>
              <a:rPr lang="id-ID" dirty="0">
                <a:solidFill>
                  <a:srgbClr val="000000"/>
                </a:solidFill>
              </a:rPr>
              <a:t>Penayangan bahan presentasi (PPT) akan dilakukan oleh Host Zoom meeting, dengan intruksi/perintah dari penyaji (peserta) dengan kata”Next”</a:t>
            </a:r>
          </a:p>
        </p:txBody>
      </p:sp>
      <p:sp>
        <p:nvSpPr>
          <p:cNvPr id="1411" name="Google Shape;1411;p36"/>
          <p:cNvSpPr txBox="1">
            <a:spLocks noGrp="1"/>
          </p:cNvSpPr>
          <p:nvPr>
            <p:ph type="subTitle" idx="14"/>
          </p:nvPr>
        </p:nvSpPr>
        <p:spPr>
          <a:xfrm>
            <a:off x="1463823" y="3551264"/>
            <a:ext cx="3108177" cy="1894299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marL="0" lvl="0" indent="0" algn="l">
              <a:spcAft>
                <a:spcPts val="1600"/>
              </a:spcAft>
            </a:pPr>
            <a:r>
              <a:rPr lang="id-ID" dirty="0">
                <a:solidFill>
                  <a:srgbClr val="000000"/>
                </a:solidFill>
              </a:rPr>
              <a:t>Seluruh rangkaian acara </a:t>
            </a:r>
            <a:r>
              <a:rPr lang="en-US" dirty="0">
                <a:solidFill>
                  <a:srgbClr val="000000"/>
                </a:solidFill>
              </a:rPr>
              <a:t>p</a:t>
            </a:r>
            <a:r>
              <a:rPr lang="id-ID" dirty="0">
                <a:solidFill>
                  <a:srgbClr val="000000"/>
                </a:solidFill>
              </a:rPr>
              <a:t>resentasi dan wawancara online dari mulai pembukaan sampai dengan penutupan akan di buat </a:t>
            </a:r>
            <a:r>
              <a:rPr lang="en-US" dirty="0">
                <a:solidFill>
                  <a:srgbClr val="000000"/>
                </a:solidFill>
              </a:rPr>
              <a:t>r</a:t>
            </a:r>
            <a:r>
              <a:rPr lang="id-ID" dirty="0">
                <a:solidFill>
                  <a:srgbClr val="000000"/>
                </a:solidFill>
              </a:rPr>
              <a:t>ekaman (Re</a:t>
            </a:r>
            <a:r>
              <a:rPr lang="en-US" dirty="0">
                <a:solidFill>
                  <a:srgbClr val="000000"/>
                </a:solidFill>
              </a:rPr>
              <a:t>c</a:t>
            </a:r>
            <a:r>
              <a:rPr lang="id-ID" dirty="0">
                <a:solidFill>
                  <a:srgbClr val="000000"/>
                </a:solidFill>
              </a:rPr>
              <a:t>ording) untuk dokumen pelaksanaan kegiatan</a:t>
            </a:r>
          </a:p>
        </p:txBody>
      </p:sp>
      <p:sp>
        <p:nvSpPr>
          <p:cNvPr id="1414" name="Google Shape;1414;p36"/>
          <p:cNvSpPr txBox="1">
            <a:spLocks noGrp="1"/>
          </p:cNvSpPr>
          <p:nvPr>
            <p:ph type="title" idx="18"/>
          </p:nvPr>
        </p:nvSpPr>
        <p:spPr>
          <a:xfrm>
            <a:off x="1166739" y="99740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>
              <a:buClrTx/>
              <a:buFontTx/>
            </a:pPr>
            <a:r>
              <a:rPr lang="id-ID" sz="1600" b="1" dirty="0">
                <a:solidFill>
                  <a:schemeClr val="bg1"/>
                </a:solidFill>
                <a:latin typeface="Barlow" panose="020B0604020202020204" charset="0"/>
              </a:rPr>
              <a:t>PANDUAN PRESENTASI DAN WAWANCARA</a:t>
            </a:r>
            <a:br>
              <a:rPr lang="id-ID" sz="1600" b="1" dirty="0">
                <a:solidFill>
                  <a:schemeClr val="bg1"/>
                </a:solidFill>
                <a:latin typeface="Barlow" panose="020B0604020202020204" charset="0"/>
              </a:rPr>
            </a:br>
            <a:r>
              <a:rPr lang="id-ID" sz="1600" b="1" dirty="0">
                <a:solidFill>
                  <a:schemeClr val="bg1"/>
                </a:solidFill>
                <a:latin typeface="Barlow" panose="020B0604020202020204" charset="0"/>
              </a:rPr>
              <a:t>PESERTA SELEKSI CALON PENERIMA PENGHARGAAN GUBERNUR BAGI PNS BERPRESTASI KABUPATEN/KOTA PROVINSI JAWA BARAT  TAHUN 2021</a:t>
            </a:r>
          </a:p>
        </p:txBody>
      </p:sp>
      <p:grpSp>
        <p:nvGrpSpPr>
          <p:cNvPr id="15" name="Group 14">
            <a:extLst>
              <a:ext uri="{FF2B5EF4-FFF2-40B4-BE49-F238E27FC236}">
                <a16:creationId xmlns:a16="http://schemas.microsoft.com/office/drawing/2014/main" id="{55671CAB-5B33-47CF-868F-F9F9D1EDE8DD}"/>
              </a:ext>
            </a:extLst>
          </p:cNvPr>
          <p:cNvGrpSpPr/>
          <p:nvPr/>
        </p:nvGrpSpPr>
        <p:grpSpPr>
          <a:xfrm>
            <a:off x="87968" y="72537"/>
            <a:ext cx="1165064" cy="643093"/>
            <a:chOff x="9921341" y="214971"/>
            <a:chExt cx="2195146" cy="1211678"/>
          </a:xfrm>
        </p:grpSpPr>
        <p:pic>
          <p:nvPicPr>
            <p:cNvPr id="16" name="Picture 15">
              <a:extLst>
                <a:ext uri="{FF2B5EF4-FFF2-40B4-BE49-F238E27FC236}">
                  <a16:creationId xmlns:a16="http://schemas.microsoft.com/office/drawing/2014/main" id="{449249F0-6911-4000-A45A-D1FA2133F37E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486" t="10276" r="10972" b="7017"/>
            <a:stretch/>
          </p:blipFill>
          <p:spPr>
            <a:xfrm>
              <a:off x="11019207" y="243065"/>
              <a:ext cx="1097280" cy="1155491"/>
            </a:xfrm>
            <a:prstGeom prst="rect">
              <a:avLst/>
            </a:prstGeom>
          </p:spPr>
        </p:pic>
        <p:pic>
          <p:nvPicPr>
            <p:cNvPr id="17" name="Picture 16">
              <a:extLst>
                <a:ext uri="{FF2B5EF4-FFF2-40B4-BE49-F238E27FC236}">
                  <a16:creationId xmlns:a16="http://schemas.microsoft.com/office/drawing/2014/main" id="{C7A96FDE-0D85-4E40-B726-85D5AB8F5B4B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11200"/>
                      </a14:imgEffect>
                      <a14:imgEffect>
                        <a14:brightnessContrast bright="4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21341" y="214971"/>
              <a:ext cx="1022353" cy="121167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461822595"/>
      </p:ext>
    </p:extLst>
  </p:cSld>
  <p:clrMapOvr>
    <a:masterClrMapping/>
  </p:clrMapOvr>
</p:sld>
</file>

<file path=ppt/slides/slide2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47000">
              <a:srgbClr val="00B0F0"/>
            </a:gs>
            <a:gs pos="0">
              <a:schemeClr val="accent1">
                <a:lumMod val="5000"/>
                <a:lumOff val="95000"/>
              </a:schemeClr>
            </a:gs>
            <a:gs pos="65000">
              <a:schemeClr val="accent6">
                <a:lumMod val="50000"/>
                <a:lumOff val="50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89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Shape 156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61" name="Google Shape;1561;p46"/>
          <p:cNvSpPr txBox="1">
            <a:spLocks noGrp="1"/>
          </p:cNvSpPr>
          <p:nvPr>
            <p:ph type="title"/>
          </p:nvPr>
        </p:nvSpPr>
        <p:spPr>
          <a:xfrm>
            <a:off x="1135942" y="246120"/>
            <a:ext cx="7704000" cy="572700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pPr lvl="0" algn="ctr"/>
            <a:r>
              <a:rPr lang="en-US" b="1" dirty="0">
                <a:solidFill>
                  <a:schemeClr val="bg2"/>
                </a:solidFill>
                <a:latin typeface="Tahoma" panose="020B0604030504040204" pitchFamily="34" charset="0"/>
                <a:ea typeface="Tahoma" panose="020B0604030504040204" pitchFamily="34" charset="0"/>
                <a:cs typeface="Tahoma" panose="020B0604030504040204" pitchFamily="34" charset="0"/>
              </a:rPr>
              <a:t>PANDUAN PRESENTASI </a:t>
            </a:r>
            <a:endParaRPr dirty="0">
              <a:solidFill>
                <a:schemeClr val="bg2"/>
              </a:solidFill>
              <a:latin typeface="Tahoma" panose="020B0604030504040204" pitchFamily="34" charset="0"/>
              <a:ea typeface="Tahoma" panose="020B0604030504040204" pitchFamily="34" charset="0"/>
              <a:cs typeface="Tahoma" panose="020B0604030504040204" pitchFamily="34" charset="0"/>
            </a:endParaRPr>
          </a:p>
        </p:txBody>
      </p:sp>
      <p:sp>
        <p:nvSpPr>
          <p:cNvPr id="1563" name="Google Shape;1563;p46"/>
          <p:cNvSpPr txBox="1">
            <a:spLocks noGrp="1"/>
          </p:cNvSpPr>
          <p:nvPr>
            <p:ph type="subTitle" idx="1"/>
          </p:nvPr>
        </p:nvSpPr>
        <p:spPr>
          <a:xfrm>
            <a:off x="1767915" y="876876"/>
            <a:ext cx="7201913" cy="800175"/>
          </a:xfrm>
          <a:prstGeom prst="rect">
            <a:avLst/>
          </a:prstGeom>
        </p:spPr>
        <p:txBody>
          <a:bodyPr spcFirstLastPara="1" wrap="square" lIns="91425" tIns="91425" rIns="91425" bIns="91425" anchor="t" anchorCtr="0">
            <a:noAutofit/>
          </a:bodyPr>
          <a:lstStyle/>
          <a:p>
            <a:r>
              <a:rPr lang="en-US" dirty="0">
                <a:solidFill>
                  <a:srgbClr val="000000"/>
                </a:solidFill>
                <a:ea typeface="Tahoma" panose="020B0604030504040204" pitchFamily="34" charset="0"/>
                <a:cs typeface="Times New Roman" panose="02020603050405020304" pitchFamily="18" charset="0"/>
              </a:rPr>
              <a:t>	</a:t>
            </a:r>
            <a:r>
              <a:rPr lang="en-US" dirty="0" err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Tahoma" panose="020B0604030504040204" pitchFamily="34" charset="0"/>
                <a:cs typeface="Times New Roman" panose="02020603050405020304" pitchFamily="18" charset="0"/>
              </a:rPr>
              <a:t>Peserta</a:t>
            </a:r>
            <a:r>
              <a:rPr lang="en-US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Tahoma" panose="020B0604030504040204" pitchFamily="34" charset="0"/>
                <a:cs typeface="Times New Roman" panose="02020603050405020304" pitchFamily="18" charset="0"/>
              </a:rPr>
              <a:t>diwajibkan</a:t>
            </a:r>
            <a:r>
              <a:rPr lang="en-US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Tahoma" panose="020B0604030504040204" pitchFamily="34" charset="0"/>
                <a:cs typeface="Times New Roman" panose="02020603050405020304" pitchFamily="18" charset="0"/>
              </a:rPr>
              <a:t>untuk</a:t>
            </a:r>
            <a:r>
              <a:rPr lang="en-US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Tahoma" panose="020B0604030504040204" pitchFamily="34" charset="0"/>
                <a:cs typeface="Times New Roman" panose="02020603050405020304" pitchFamily="18" charset="0"/>
              </a:rPr>
              <a:t>menyiapkan</a:t>
            </a:r>
            <a:r>
              <a:rPr lang="en-US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Tahoma" panose="020B0604030504040204" pitchFamily="34" charset="0"/>
                <a:cs typeface="Times New Roman" panose="02020603050405020304" pitchFamily="18" charset="0"/>
              </a:rPr>
              <a:t>bahan</a:t>
            </a:r>
            <a:r>
              <a:rPr lang="en-US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Tahoma" panose="020B0604030504040204" pitchFamily="34" charset="0"/>
                <a:cs typeface="Times New Roman" panose="02020603050405020304" pitchFamily="18" charset="0"/>
              </a:rPr>
              <a:t>presentasi</a:t>
            </a:r>
            <a:r>
              <a:rPr lang="en-US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Tahoma" panose="020B0604030504040204" pitchFamily="34" charset="0"/>
                <a:cs typeface="Times New Roman" panose="02020603050405020304" pitchFamily="18" charset="0"/>
              </a:rPr>
              <a:t>dalam</a:t>
            </a:r>
            <a:r>
              <a:rPr lang="en-US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Tahoma" panose="020B0604030504040204" pitchFamily="34" charset="0"/>
                <a:cs typeface="Times New Roman" panose="02020603050405020304" pitchFamily="18" charset="0"/>
              </a:rPr>
              <a:t>bentuk</a:t>
            </a:r>
            <a:r>
              <a:rPr lang="en-US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Tahoma" panose="020B0604030504040204" pitchFamily="34" charset="0"/>
                <a:cs typeface="Times New Roman" panose="02020603050405020304" pitchFamily="18" charset="0"/>
              </a:rPr>
              <a:t> Power Point (PPT) dan </a:t>
            </a:r>
            <a:r>
              <a:rPr lang="en-US" dirty="0" err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Tahoma" panose="020B0604030504040204" pitchFamily="34" charset="0"/>
                <a:cs typeface="Times New Roman" panose="02020603050405020304" pitchFamily="18" charset="0"/>
              </a:rPr>
              <a:t>atau</a:t>
            </a:r>
            <a:r>
              <a:rPr lang="en-US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Tahoma" panose="020B0604030504040204" pitchFamily="34" charset="0"/>
                <a:cs typeface="Times New Roman" panose="02020603050405020304" pitchFamily="18" charset="0"/>
              </a:rPr>
              <a:t>sejenisnya</a:t>
            </a:r>
            <a:r>
              <a:rPr lang="en-US" dirty="0">
                <a:solidFill>
                  <a:srgbClr val="00000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ea typeface="Tahoma" panose="020B0604030504040204" pitchFamily="34" charset="0"/>
                <a:cs typeface="Times New Roman" panose="02020603050405020304" pitchFamily="18" charset="0"/>
              </a:rPr>
              <a:t>. </a:t>
            </a:r>
          </a:p>
        </p:txBody>
      </p:sp>
      <p:sp>
        <p:nvSpPr>
          <p:cNvPr id="1570" name="Google Shape;1570;p46"/>
          <p:cNvSpPr/>
          <p:nvPr/>
        </p:nvSpPr>
        <p:spPr>
          <a:xfrm>
            <a:off x="1539150" y="932558"/>
            <a:ext cx="572700" cy="572700"/>
          </a:xfrm>
          <a:prstGeom prst="ellipse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1</a:t>
            </a:r>
            <a:endParaRPr dirty="0"/>
          </a:p>
        </p:txBody>
      </p:sp>
      <p:sp>
        <p:nvSpPr>
          <p:cNvPr id="1571" name="Google Shape;1571;p46"/>
          <p:cNvSpPr/>
          <p:nvPr/>
        </p:nvSpPr>
        <p:spPr>
          <a:xfrm>
            <a:off x="1539150" y="1687640"/>
            <a:ext cx="572700" cy="572700"/>
          </a:xfrm>
          <a:prstGeom prst="ellipse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rgbClr val="000000"/>
                </a:solidFill>
              </a:rPr>
              <a:t>2</a:t>
            </a:r>
            <a:endParaRPr dirty="0">
              <a:solidFill>
                <a:srgbClr val="000000"/>
              </a:solidFill>
            </a:endParaRPr>
          </a:p>
        </p:txBody>
      </p:sp>
      <p:grpSp>
        <p:nvGrpSpPr>
          <p:cNvPr id="10" name="Group 9">
            <a:extLst>
              <a:ext uri="{FF2B5EF4-FFF2-40B4-BE49-F238E27FC236}">
                <a16:creationId xmlns:a16="http://schemas.microsoft.com/office/drawing/2014/main" id="{0FF72635-0732-47D5-8324-125BBF2FF25E}"/>
              </a:ext>
            </a:extLst>
          </p:cNvPr>
          <p:cNvGrpSpPr/>
          <p:nvPr/>
        </p:nvGrpSpPr>
        <p:grpSpPr>
          <a:xfrm>
            <a:off x="87968" y="72537"/>
            <a:ext cx="1165064" cy="643093"/>
            <a:chOff x="9921341" y="214971"/>
            <a:chExt cx="2195146" cy="1211678"/>
          </a:xfrm>
        </p:grpSpPr>
        <p:pic>
          <p:nvPicPr>
            <p:cNvPr id="11" name="Picture 10">
              <a:extLst>
                <a:ext uri="{FF2B5EF4-FFF2-40B4-BE49-F238E27FC236}">
                  <a16:creationId xmlns:a16="http://schemas.microsoft.com/office/drawing/2014/main" id="{35998A37-87F5-407D-9C33-16FD6E104AF4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486" t="10276" r="10972" b="7017"/>
            <a:stretch/>
          </p:blipFill>
          <p:spPr>
            <a:xfrm>
              <a:off x="11019207" y="243065"/>
              <a:ext cx="1097280" cy="1155491"/>
            </a:xfrm>
            <a:prstGeom prst="rect">
              <a:avLst/>
            </a:prstGeom>
          </p:spPr>
        </p:pic>
        <p:pic>
          <p:nvPicPr>
            <p:cNvPr id="12" name="Picture 11">
              <a:extLst>
                <a:ext uri="{FF2B5EF4-FFF2-40B4-BE49-F238E27FC236}">
                  <a16:creationId xmlns:a16="http://schemas.microsoft.com/office/drawing/2014/main" id="{7983CA58-B46B-456C-8647-E03428961B2D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11200"/>
                      </a14:imgEffect>
                      <a14:imgEffect>
                        <a14:brightnessContrast bright="4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21341" y="214971"/>
              <a:ext cx="1022353" cy="1211678"/>
            </a:xfrm>
            <a:prstGeom prst="rect">
              <a:avLst/>
            </a:prstGeom>
          </p:spPr>
        </p:pic>
      </p:grpSp>
      <p:sp>
        <p:nvSpPr>
          <p:cNvPr id="16" name="Google Shape;1570;p46">
            <a:extLst>
              <a:ext uri="{FF2B5EF4-FFF2-40B4-BE49-F238E27FC236}">
                <a16:creationId xmlns:a16="http://schemas.microsoft.com/office/drawing/2014/main" id="{1CE858C9-38D6-41D0-8122-6C15B8B5003E}"/>
              </a:ext>
            </a:extLst>
          </p:cNvPr>
          <p:cNvSpPr/>
          <p:nvPr/>
        </p:nvSpPr>
        <p:spPr>
          <a:xfrm>
            <a:off x="1539150" y="2489583"/>
            <a:ext cx="572700" cy="572700"/>
          </a:xfrm>
          <a:prstGeom prst="ellipse">
            <a:avLst/>
          </a:prstGeom>
          <a:ln/>
        </p:spPr>
        <p:style>
          <a:lnRef idx="0">
            <a:schemeClr val="accent2"/>
          </a:lnRef>
          <a:fillRef idx="3">
            <a:schemeClr val="accent2"/>
          </a:fillRef>
          <a:effectRef idx="3">
            <a:schemeClr val="accent2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/>
              <a:t>3</a:t>
            </a:r>
            <a:endParaRPr dirty="0"/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7BA75D68-307B-4665-8DED-18A82AC51162}"/>
              </a:ext>
            </a:extLst>
          </p:cNvPr>
          <p:cNvSpPr/>
          <p:nvPr/>
        </p:nvSpPr>
        <p:spPr>
          <a:xfrm>
            <a:off x="2198915" y="1673126"/>
            <a:ext cx="6770913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algn="just"/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embuatan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dan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enyampaian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materi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resentasi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harus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disesuaikan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dengan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waktu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yang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telah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ditentukan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.</a:t>
            </a:r>
            <a:endParaRPr lang="en-ID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arlow Light" panose="020B0604020202020204" charset="0"/>
              <a:ea typeface="Tahoma" panose="020B0604030504040204" pitchFamily="34" charset="0"/>
              <a:cs typeface="Times New Roman" panose="02020603050405020304" pitchFamily="18" charset="0"/>
            </a:endParaRPr>
          </a:p>
        </p:txBody>
      </p:sp>
      <p:sp>
        <p:nvSpPr>
          <p:cNvPr id="20" name="Google Shape;1571;p46">
            <a:extLst>
              <a:ext uri="{FF2B5EF4-FFF2-40B4-BE49-F238E27FC236}">
                <a16:creationId xmlns:a16="http://schemas.microsoft.com/office/drawing/2014/main" id="{C05BE440-CAD2-4E95-89C8-CD7387A4E785}"/>
              </a:ext>
            </a:extLst>
          </p:cNvPr>
          <p:cNvSpPr/>
          <p:nvPr/>
        </p:nvSpPr>
        <p:spPr>
          <a:xfrm>
            <a:off x="1539150" y="3422152"/>
            <a:ext cx="572700" cy="572700"/>
          </a:xfrm>
          <a:prstGeom prst="ellipse">
            <a:avLst/>
          </a:prstGeom>
          <a:ln/>
        </p:spPr>
        <p:style>
          <a:lnRef idx="0">
            <a:schemeClr val="accent1"/>
          </a:lnRef>
          <a:fillRef idx="3">
            <a:schemeClr val="accent1"/>
          </a:fillRef>
          <a:effectRef idx="3">
            <a:schemeClr val="accent1"/>
          </a:effectRef>
          <a:fontRef idx="minor">
            <a:schemeClr val="lt1"/>
          </a:fontRef>
        </p:style>
        <p:txBody>
          <a:bodyPr spcFirstLastPara="1" wrap="square" lIns="91425" tIns="91425" rIns="91425" bIns="91425" anchor="ctr" anchorCtr="0">
            <a:noAutofit/>
          </a:bodyPr>
          <a:lstStyle/>
          <a:p>
            <a:pPr marL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dirty="0">
                <a:solidFill>
                  <a:srgbClr val="000000"/>
                </a:solidFill>
              </a:rPr>
              <a:t>4</a:t>
            </a:r>
            <a:endParaRPr dirty="0">
              <a:solidFill>
                <a:srgbClr val="000000"/>
              </a:solidFill>
            </a:endParaRP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2E9E8AF9-33DB-4AAC-894A-F5BE2A6C5084}"/>
              </a:ext>
            </a:extLst>
          </p:cNvPr>
          <p:cNvSpPr/>
          <p:nvPr/>
        </p:nvSpPr>
        <p:spPr>
          <a:xfrm>
            <a:off x="1995724" y="2556215"/>
            <a:ext cx="7090229" cy="523220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79388" lvl="0" indent="-179388" algn="just"/>
            <a:r>
              <a:rPr lang="en-US" dirty="0">
                <a:ea typeface="Tahoma" panose="020B0604030504040204" pitchFamily="34" charset="0"/>
                <a:cs typeface="Times New Roman" panose="02020603050405020304" pitchFamily="18" charset="0"/>
              </a:rPr>
              <a:t>  </a:t>
            </a:r>
            <a:r>
              <a:rPr lang="en-US" dirty="0"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 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Jika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bahan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resentasi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menggunakan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program lain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harap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di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informasikan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terlebih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dahulu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kepada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anitia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untuk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disesuaikan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dengan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program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komputer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yang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disiapkan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anitia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. </a:t>
            </a:r>
          </a:p>
        </p:txBody>
      </p:sp>
      <p:sp>
        <p:nvSpPr>
          <p:cNvPr id="13" name="Rectangle 12">
            <a:extLst>
              <a:ext uri="{FF2B5EF4-FFF2-40B4-BE49-F238E27FC236}">
                <a16:creationId xmlns:a16="http://schemas.microsoft.com/office/drawing/2014/main" id="{E7ECB0BB-D0B3-4009-9D66-E899D13FB1AF}"/>
              </a:ext>
            </a:extLst>
          </p:cNvPr>
          <p:cNvSpPr/>
          <p:nvPr/>
        </p:nvSpPr>
        <p:spPr>
          <a:xfrm>
            <a:off x="2111850" y="3302354"/>
            <a:ext cx="6857978" cy="1384995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87313" lvl="0" algn="just"/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Waktu yang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disediakan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untuk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resentasi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dan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wawancara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selama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30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Menit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dengan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embagian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waktu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sebagai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berikut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:</a:t>
            </a:r>
            <a:endParaRPr lang="en-ID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arlow Light" panose="020B060402020202020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92075" lvl="0" indent="173038" algn="just">
              <a:buClrTx/>
              <a:buFont typeface="+mj-lt"/>
              <a:buAutoNum type="alphaLcPeriod"/>
            </a:pP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embukaan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oleh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ketua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Tim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enilai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/Moderator : 2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Menit</a:t>
            </a:r>
            <a:endParaRPr lang="en-ID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arlow Light" panose="020B060402020202020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92075" lvl="0" indent="173038" algn="just">
              <a:buClrTx/>
              <a:buFont typeface="+mj-lt"/>
              <a:buAutoNum type="alphaLcPeriod"/>
            </a:pP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enyampaian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Materi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oleh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eserta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: 10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Menit</a:t>
            </a:r>
            <a:endParaRPr lang="en-ID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arlow Light" panose="020B060402020202020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92075" lvl="0" indent="173038" algn="just">
              <a:buClrTx/>
              <a:buFont typeface="+mj-lt"/>
              <a:buAutoNum type="alphaLcPeriod"/>
            </a:pP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Diskusi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dan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endalaman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Materi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oleh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tim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enilai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: 15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Menit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.</a:t>
            </a:r>
            <a:endParaRPr lang="en-ID" dirty="0"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Barlow Light" panose="020B060402020202020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92075" lvl="0" indent="173038" algn="just">
              <a:buClrTx/>
              <a:buFont typeface="+mj-lt"/>
              <a:buAutoNum type="alphaLcPeriod"/>
            </a:pP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enutupan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oleh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Ketua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 Tim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Penilai</a:t>
            </a:r>
            <a:r>
              <a:rPr lang="en-US" dirty="0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/Moderator  : 3 </a:t>
            </a:r>
            <a:r>
              <a:rPr lang="en-US" dirty="0" err="1"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Barlow Light" panose="020B0604020202020204" charset="0"/>
                <a:ea typeface="Tahoma" panose="020B0604030504040204" pitchFamily="34" charset="0"/>
                <a:cs typeface="Times New Roman" panose="02020603050405020304" pitchFamily="18" charset="0"/>
              </a:rPr>
              <a:t>menit</a:t>
            </a:r>
            <a:endParaRPr lang="en-ID" dirty="0">
              <a:latin typeface="Barlow Light" panose="020B060402020202020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</p:cSld>
  <p:clrMapOvr>
    <a:masterClrMapping/>
  </p:clrMapOvr>
</p:sld>
</file>

<file path=ppt/slides/slide2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3">
            <a:lum/>
          </a:blip>
          <a:srcRect/>
          <a:stretch>
            <a:fillRect t="-39000" b="-39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tangle 7">
            <a:extLst>
              <a:ext uri="{FF2B5EF4-FFF2-40B4-BE49-F238E27FC236}">
                <a16:creationId xmlns:a16="http://schemas.microsoft.com/office/drawing/2014/main" id="{36B4D6DB-577D-4B0C-B063-44ABF3D50877}"/>
              </a:ext>
            </a:extLst>
          </p:cNvPr>
          <p:cNvSpPr/>
          <p:nvPr/>
        </p:nvSpPr>
        <p:spPr>
          <a:xfrm>
            <a:off x="0" y="1"/>
            <a:ext cx="9144000" cy="4961201"/>
          </a:xfrm>
          <a:prstGeom prst="rect">
            <a:avLst/>
          </a:prstGeom>
          <a:solidFill>
            <a:schemeClr val="accent4">
              <a:alpha val="15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 defTabSz="685715">
              <a:buClrTx/>
            </a:pPr>
            <a:endParaRPr lang="en-ID" sz="1350" kern="1200">
              <a:solidFill>
                <a:prstClr val="white"/>
              </a:solidFill>
              <a:latin typeface="Arial"/>
            </a:endParaRPr>
          </a:p>
        </p:txBody>
      </p:sp>
      <p:sp>
        <p:nvSpPr>
          <p:cNvPr id="9" name="TextBox 8">
            <a:extLst>
              <a:ext uri="{FF2B5EF4-FFF2-40B4-BE49-F238E27FC236}">
                <a16:creationId xmlns:a16="http://schemas.microsoft.com/office/drawing/2014/main" id="{64F0F806-775D-46CC-876E-7724016746A4}"/>
              </a:ext>
            </a:extLst>
          </p:cNvPr>
          <p:cNvSpPr txBox="1"/>
          <p:nvPr/>
        </p:nvSpPr>
        <p:spPr>
          <a:xfrm>
            <a:off x="0" y="2288630"/>
            <a:ext cx="9144000" cy="738664"/>
          </a:xfrm>
          <a:prstGeom prst="rect">
            <a:avLst/>
          </a:prstGeom>
          <a:solidFill>
            <a:schemeClr val="dk1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 defTabSz="685715">
              <a:buClrTx/>
            </a:pPr>
            <a:r>
              <a:rPr lang="en-US" altLang="ko-KR" sz="2400" kern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Rounded MT Bold" panose="020F0704030504030204" pitchFamily="34" charset="0"/>
                <a:cs typeface="Arial" pitchFamily="34" charset="0"/>
              </a:rPr>
              <a:t>SELEKSI PNS BERPRESTASI </a:t>
            </a:r>
          </a:p>
          <a:p>
            <a:pPr algn="ctr" defTabSz="685715">
              <a:buClrTx/>
            </a:pPr>
            <a:r>
              <a:rPr lang="en-US" altLang="ko-KR" sz="1800" kern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Rounded MT Bold" panose="020F0704030504030204" pitchFamily="34" charset="0"/>
                <a:cs typeface="Arial" pitchFamily="34" charset="0"/>
              </a:rPr>
              <a:t>TAHUN 2021</a:t>
            </a:r>
            <a:endParaRPr lang="ko-KR" altLang="en-US" sz="1800" kern="120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Rounded MT Bold" panose="020F0704030504030204" pitchFamily="34" charset="0"/>
              <a:cs typeface="Arial" pitchFamily="34" charset="0"/>
            </a:endParaRPr>
          </a:p>
        </p:txBody>
      </p:sp>
      <p:sp>
        <p:nvSpPr>
          <p:cNvPr id="16" name="TextBox 15">
            <a:extLst>
              <a:ext uri="{FF2B5EF4-FFF2-40B4-BE49-F238E27FC236}">
                <a16:creationId xmlns:a16="http://schemas.microsoft.com/office/drawing/2014/main" id="{F7A3409C-3487-482D-BA98-F9F742A0694B}"/>
              </a:ext>
            </a:extLst>
          </p:cNvPr>
          <p:cNvSpPr txBox="1"/>
          <p:nvPr/>
        </p:nvSpPr>
        <p:spPr>
          <a:xfrm>
            <a:off x="-1" y="3996957"/>
            <a:ext cx="9144000" cy="553998"/>
          </a:xfrm>
          <a:prstGeom prst="rect">
            <a:avLst/>
          </a:prstGeom>
          <a:solidFill>
            <a:schemeClr val="accent6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 defTabSz="685715">
              <a:buClrTx/>
            </a:pPr>
            <a:r>
              <a:rPr lang="en-US" altLang="ko-KR" sz="1500" kern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BADAN KEPEGAWAIAN DAERAH</a:t>
            </a:r>
          </a:p>
          <a:p>
            <a:pPr algn="ctr" defTabSz="685715">
              <a:buClrTx/>
            </a:pPr>
            <a:r>
              <a:rPr lang="en-US" altLang="ko-KR" sz="1500" kern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PROVINSI JAWA BARAT</a:t>
            </a:r>
            <a:endParaRPr lang="ko-KR" altLang="en-US" sz="1500" kern="120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itchFamily="34" charset="0"/>
            </a:endParaRPr>
          </a:p>
        </p:txBody>
      </p:sp>
      <p:pic>
        <p:nvPicPr>
          <p:cNvPr id="17" name="Picture 16">
            <a:extLst>
              <a:ext uri="{FF2B5EF4-FFF2-40B4-BE49-F238E27FC236}">
                <a16:creationId xmlns:a16="http://schemas.microsoft.com/office/drawing/2014/main" id="{98F7F71F-3277-4335-A366-FF5EE7555DEC}"/>
              </a:ext>
            </a:extLst>
          </p:cNvPr>
          <p:cNvPicPr>
            <a:picLocks noChangeAspect="1"/>
          </p:cNvPicPr>
          <p:nvPr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0704" y="1461541"/>
            <a:ext cx="1431551" cy="210215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7C777823-EB11-4D8F-80D4-5862E77AA6DE}"/>
              </a:ext>
            </a:extLst>
          </p:cNvPr>
          <p:cNvGrpSpPr/>
          <p:nvPr/>
        </p:nvGrpSpPr>
        <p:grpSpPr>
          <a:xfrm>
            <a:off x="3989467" y="166833"/>
            <a:ext cx="1165064" cy="643093"/>
            <a:chOff x="9921341" y="214971"/>
            <a:chExt cx="2195146" cy="1211678"/>
          </a:xfrm>
        </p:grpSpPr>
        <p:pic>
          <p:nvPicPr>
            <p:cNvPr id="19" name="Picture 18">
              <a:extLst>
                <a:ext uri="{FF2B5EF4-FFF2-40B4-BE49-F238E27FC236}">
                  <a16:creationId xmlns:a16="http://schemas.microsoft.com/office/drawing/2014/main" id="{E8DE4852-44D2-47B6-960C-B08F6CDB70FC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5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486" t="10276" r="10972" b="7017"/>
            <a:stretch/>
          </p:blipFill>
          <p:spPr>
            <a:xfrm>
              <a:off x="11019207" y="243065"/>
              <a:ext cx="1097280" cy="1155491"/>
            </a:xfrm>
            <a:prstGeom prst="rect">
              <a:avLst/>
            </a:prstGeom>
          </p:spPr>
        </p:pic>
        <p:pic>
          <p:nvPicPr>
            <p:cNvPr id="20" name="Picture 19">
              <a:extLst>
                <a:ext uri="{FF2B5EF4-FFF2-40B4-BE49-F238E27FC236}">
                  <a16:creationId xmlns:a16="http://schemas.microsoft.com/office/drawing/2014/main" id="{87A37184-4E71-44D6-A954-E1DEE54713DF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BEBA8EAE-BF5A-486C-A8C5-ECC9F3942E4B}">
                  <a14:imgProps xmlns:a14="http://schemas.microsoft.com/office/drawing/2010/main">
                    <a14:imgLayer r:embed="rId7">
                      <a14:imgEffect>
                        <a14:colorTemperature colorTemp="11200"/>
                      </a14:imgEffect>
                      <a14:imgEffect>
                        <a14:brightnessContrast bright="4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21341" y="214971"/>
              <a:ext cx="1022353" cy="1211678"/>
            </a:xfrm>
            <a:prstGeom prst="rect">
              <a:avLst/>
            </a:prstGeom>
          </p:spPr>
        </p:pic>
      </p:grpSp>
      <p:sp>
        <p:nvSpPr>
          <p:cNvPr id="21" name="TextBox 20">
            <a:extLst>
              <a:ext uri="{FF2B5EF4-FFF2-40B4-BE49-F238E27FC236}">
                <a16:creationId xmlns:a16="http://schemas.microsoft.com/office/drawing/2014/main" id="{F26EEA98-E4F5-419C-8643-B8A42EF61FE6}"/>
              </a:ext>
            </a:extLst>
          </p:cNvPr>
          <p:cNvSpPr txBox="1"/>
          <p:nvPr/>
        </p:nvSpPr>
        <p:spPr>
          <a:xfrm>
            <a:off x="2275163" y="4504860"/>
            <a:ext cx="4306041" cy="323165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pPr algn="ctr" defTabSz="685715">
              <a:buClrTx/>
            </a:pPr>
            <a:r>
              <a:rPr lang="en-US" altLang="ko-KR" sz="1500" b="1" kern="1200" dirty="0">
                <a:solidFill>
                  <a:prstClr val="white"/>
                </a:solidFill>
                <a:cs typeface="Arial" pitchFamily="34" charset="0"/>
              </a:rPr>
              <a:t>TAHUN 2021</a:t>
            </a:r>
            <a:endParaRPr lang="ko-KR" altLang="en-US" sz="1500" b="1" kern="1200" dirty="0">
              <a:solidFill>
                <a:prstClr val="white"/>
              </a:solidFill>
              <a:cs typeface="Arial" pitchFamily="34" charset="0"/>
            </a:endParaRPr>
          </a:p>
        </p:txBody>
      </p:sp>
      <p:sp>
        <p:nvSpPr>
          <p:cNvPr id="10" name="TextBox 9">
            <a:extLst>
              <a:ext uri="{FF2B5EF4-FFF2-40B4-BE49-F238E27FC236}">
                <a16:creationId xmlns:a16="http://schemas.microsoft.com/office/drawing/2014/main" id="{7860B642-5486-4805-B7D3-656781893DEC}"/>
              </a:ext>
            </a:extLst>
          </p:cNvPr>
          <p:cNvSpPr txBox="1"/>
          <p:nvPr/>
        </p:nvSpPr>
        <p:spPr>
          <a:xfrm>
            <a:off x="0" y="3565998"/>
            <a:ext cx="9143999" cy="307777"/>
          </a:xfrm>
          <a:prstGeom prst="rect">
            <a:avLst/>
          </a:prstGeom>
          <a:solidFill>
            <a:schemeClr val="accent4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/>
            <a:r>
              <a:rPr lang="en-US" altLang="ko-KR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cs typeface="Arial" pitchFamily="34" charset="0"/>
              </a:rPr>
              <a:t>INOVATIF, INSPIRATIF, THE FUTURE LEADER</a:t>
            </a:r>
            <a:endParaRPr lang="ko-KR" altLang="en-US" b="1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cs typeface="Arial" pitchFamily="34" charset="0"/>
            </a:endParaRPr>
          </a:p>
        </p:txBody>
      </p:sp>
      <p:sp>
        <p:nvSpPr>
          <p:cNvPr id="11" name="TextBox 10">
            <a:extLst>
              <a:ext uri="{FF2B5EF4-FFF2-40B4-BE49-F238E27FC236}">
                <a16:creationId xmlns:a16="http://schemas.microsoft.com/office/drawing/2014/main" id="{60CEF87B-4942-487F-AB6F-19FC25A8C78D}"/>
              </a:ext>
            </a:extLst>
          </p:cNvPr>
          <p:cNvSpPr txBox="1"/>
          <p:nvPr/>
        </p:nvSpPr>
        <p:spPr>
          <a:xfrm>
            <a:off x="0" y="976757"/>
            <a:ext cx="9144000" cy="461665"/>
          </a:xfrm>
          <a:prstGeom prst="rect">
            <a:avLst/>
          </a:prstGeom>
          <a:solidFill>
            <a:schemeClr val="accent2">
              <a:alpha val="50000"/>
            </a:schemeClr>
          </a:solidFill>
          <a:ln>
            <a:noFill/>
          </a:ln>
        </p:spPr>
        <p:style>
          <a:lnRef idx="0">
            <a:scrgbClr r="0" g="0" b="0"/>
          </a:lnRef>
          <a:fillRef idx="0">
            <a:scrgbClr r="0" g="0" b="0"/>
          </a:fillRef>
          <a:effectRef idx="0">
            <a:scrgbClr r="0" g="0" b="0"/>
          </a:effectRef>
          <a:fontRef idx="minor">
            <a:schemeClr val="lt1"/>
          </a:fontRef>
        </p:style>
        <p:txBody>
          <a:bodyPr wrap="square" rtlCol="0" anchor="ctr">
            <a:spAutoFit/>
          </a:bodyPr>
          <a:lstStyle/>
          <a:p>
            <a:pPr algn="ctr" defTabSz="685715">
              <a:buClrTx/>
            </a:pPr>
            <a:r>
              <a:rPr lang="en-US" altLang="ko-KR" sz="2400" kern="1200" dirty="0"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 Rounded MT Bold" panose="020F0704030504030204" pitchFamily="34" charset="0"/>
                <a:cs typeface="Arial" pitchFamily="34" charset="0"/>
              </a:rPr>
              <a:t>TERIMA KASIH</a:t>
            </a:r>
            <a:endParaRPr lang="ko-KR" altLang="en-US" sz="1800" kern="1200" dirty="0"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latin typeface="Arial Rounded MT Bold" panose="020F0704030504030204" pitchFamily="34" charset="0"/>
              <a:cs typeface="Arial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252824250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blipFill dpi="0" rotWithShape="1">
          <a:blip r:embed="rId2">
            <a:lum/>
          </a:blip>
          <a:srcRect/>
          <a:stretch>
            <a:fillRect l="-2000" r="-2000"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2" name="Rectangle 31">
            <a:extLst>
              <a:ext uri="{FF2B5EF4-FFF2-40B4-BE49-F238E27FC236}">
                <a16:creationId xmlns:a16="http://schemas.microsoft.com/office/drawing/2014/main" id="{4DFE3C7E-8758-4EAA-8D55-71C391129664}"/>
              </a:ext>
            </a:extLst>
          </p:cNvPr>
          <p:cNvSpPr/>
          <p:nvPr/>
        </p:nvSpPr>
        <p:spPr>
          <a:xfrm>
            <a:off x="0" y="351924"/>
            <a:ext cx="8871154" cy="4439652"/>
          </a:xfrm>
          <a:prstGeom prst="rect">
            <a:avLst/>
          </a:prstGeom>
          <a:solidFill>
            <a:schemeClr val="accent1">
              <a:lumMod val="20000"/>
              <a:lumOff val="80000"/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/>
          </a:p>
        </p:txBody>
      </p:sp>
      <p:sp>
        <p:nvSpPr>
          <p:cNvPr id="2" name="TextBox 1"/>
          <p:cNvSpPr txBox="1"/>
          <p:nvPr/>
        </p:nvSpPr>
        <p:spPr>
          <a:xfrm>
            <a:off x="154857" y="358149"/>
            <a:ext cx="8323478" cy="646331"/>
          </a:xfrm>
          <a:prstGeom prst="rect">
            <a:avLst/>
          </a:prstGeom>
          <a:noFill/>
        </p:spPr>
        <p:txBody>
          <a:bodyPr wrap="square" rtlCol="0" anchor="ctr">
            <a:spAutoFit/>
          </a:bodyPr>
          <a:lstStyle/>
          <a:p>
            <a:r>
              <a:rPr lang="en-US" altLang="ko-KR" sz="2100" dirty="0">
                <a:latin typeface="Aharoni" panose="02010803020104030203" pitchFamily="2" charset="-79"/>
                <a:cs typeface="Aharoni" panose="02010803020104030203" pitchFamily="2" charset="-79"/>
              </a:rPr>
              <a:t>KATEGORI PENGHARGAAN</a:t>
            </a:r>
          </a:p>
          <a:p>
            <a:r>
              <a:rPr lang="en-US" altLang="ko-KR" sz="1500" dirty="0" err="1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Untuk</a:t>
            </a:r>
            <a:r>
              <a:rPr lang="en-US" altLang="ko-KR" sz="15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altLang="ko-KR" sz="1500" dirty="0" err="1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pemilihan</a:t>
            </a:r>
            <a:r>
              <a:rPr lang="en-US" altLang="ko-KR" sz="15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PNS JABAR  </a:t>
            </a:r>
            <a:r>
              <a:rPr lang="en-US" altLang="ko-KR" sz="1500" dirty="0" err="1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Berpretasi</a:t>
            </a:r>
            <a:r>
              <a:rPr lang="en-US" altLang="ko-KR" sz="15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</a:t>
            </a:r>
            <a:r>
              <a:rPr lang="en-US" altLang="ko-KR" sz="1500" dirty="0" err="1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Tahun</a:t>
            </a:r>
            <a:r>
              <a:rPr lang="en-US" altLang="ko-KR" sz="15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 202</a:t>
            </a:r>
            <a:r>
              <a:rPr lang="id-ID" altLang="ko-KR" sz="1500" dirty="0">
                <a:solidFill>
                  <a:srgbClr val="0070C0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</a:rPr>
              <a:t>1</a:t>
            </a:r>
            <a:endParaRPr lang="ko-KR" altLang="en-US" sz="1500" dirty="0">
              <a:solidFill>
                <a:srgbClr val="0070C0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pSp>
        <p:nvGrpSpPr>
          <p:cNvPr id="4" name="Group 3">
            <a:extLst>
              <a:ext uri="{FF2B5EF4-FFF2-40B4-BE49-F238E27FC236}">
                <a16:creationId xmlns:a16="http://schemas.microsoft.com/office/drawing/2014/main" id="{8E5E5475-7904-4404-9EE1-C0D975C30508}"/>
              </a:ext>
            </a:extLst>
          </p:cNvPr>
          <p:cNvGrpSpPr/>
          <p:nvPr/>
        </p:nvGrpSpPr>
        <p:grpSpPr>
          <a:xfrm>
            <a:off x="154857" y="1266310"/>
            <a:ext cx="8537592" cy="918537"/>
            <a:chOff x="6751979" y="1666120"/>
            <a:chExt cx="4520316" cy="1224716"/>
          </a:xfrm>
        </p:grpSpPr>
        <p:sp>
          <p:nvSpPr>
            <p:cNvPr id="8" name="TextBox 7"/>
            <p:cNvSpPr txBox="1"/>
            <p:nvPr/>
          </p:nvSpPr>
          <p:spPr>
            <a:xfrm>
              <a:off x="6764603" y="2029061"/>
              <a:ext cx="4507692" cy="86177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200" dirty="0" err="1">
                  <a:cs typeface="Arial" pitchFamily="34" charset="0"/>
                </a:rPr>
                <a:t>Sosok</a:t>
              </a:r>
              <a:r>
                <a:rPr lang="en-US" altLang="ko-KR" sz="1200" dirty="0">
                  <a:cs typeface="Arial" pitchFamily="34" charset="0"/>
                </a:rPr>
                <a:t> PNS yang </a:t>
              </a:r>
              <a:r>
                <a:rPr lang="en-US" altLang="ko-KR" sz="1200" dirty="0" err="1">
                  <a:cs typeface="Arial" pitchFamily="34" charset="0"/>
                </a:rPr>
                <a:t>memiliki</a:t>
              </a:r>
              <a:r>
                <a:rPr lang="en-US" altLang="ko-KR" sz="1200" dirty="0">
                  <a:cs typeface="Arial" pitchFamily="34" charset="0"/>
                </a:rPr>
                <a:t> </a:t>
              </a:r>
              <a:r>
                <a:rPr lang="en-US" altLang="ko-KR" sz="1200" dirty="0" err="1">
                  <a:cs typeface="Arial" pitchFamily="34" charset="0"/>
                </a:rPr>
                <a:t>kemampuan</a:t>
              </a:r>
              <a:r>
                <a:rPr lang="en-US" altLang="ko-KR" sz="1200" dirty="0">
                  <a:cs typeface="Arial" pitchFamily="34" charset="0"/>
                </a:rPr>
                <a:t> dan </a:t>
              </a:r>
              <a:r>
                <a:rPr lang="en-US" altLang="ko-KR" sz="1200" dirty="0" err="1">
                  <a:cs typeface="Arial" pitchFamily="34" charset="0"/>
                </a:rPr>
                <a:t>keahlian</a:t>
              </a:r>
              <a:r>
                <a:rPr lang="en-US" altLang="ko-KR" sz="1200" dirty="0">
                  <a:cs typeface="Arial" pitchFamily="34" charset="0"/>
                </a:rPr>
                <a:t> </a:t>
              </a:r>
              <a:r>
                <a:rPr lang="en-US" altLang="ko-KR" sz="1200" dirty="0" err="1">
                  <a:cs typeface="Arial" pitchFamily="34" charset="0"/>
                </a:rPr>
                <a:t>dalam</a:t>
              </a:r>
              <a:r>
                <a:rPr lang="en-US" altLang="ko-KR" sz="1200" dirty="0">
                  <a:cs typeface="Arial" pitchFamily="34" charset="0"/>
                </a:rPr>
                <a:t>  </a:t>
              </a:r>
              <a:r>
                <a:rPr lang="en-US" altLang="ko-KR" sz="1200" dirty="0" err="1">
                  <a:cs typeface="Arial" pitchFamily="34" charset="0"/>
                </a:rPr>
                <a:t>mendayagunakan</a:t>
              </a:r>
              <a:r>
                <a:rPr lang="en-US" altLang="ko-KR" sz="1200" dirty="0">
                  <a:cs typeface="Arial" pitchFamily="34" charset="0"/>
                </a:rPr>
                <a:t> </a:t>
              </a:r>
              <a:r>
                <a:rPr lang="en-US" altLang="ko-KR" sz="1200" dirty="0" err="1">
                  <a:cs typeface="Arial" pitchFamily="34" charset="0"/>
                </a:rPr>
                <a:t>pemikiran</a:t>
              </a:r>
              <a:r>
                <a:rPr lang="en-US" altLang="ko-KR" sz="1200" dirty="0">
                  <a:cs typeface="Arial" pitchFamily="34" charset="0"/>
                </a:rPr>
                <a:t>, </a:t>
              </a:r>
              <a:r>
                <a:rPr lang="en-US" altLang="ko-KR" sz="1200" dirty="0" err="1">
                  <a:cs typeface="Arial" pitchFamily="34" charset="0"/>
                </a:rPr>
                <a:t>kemampuan</a:t>
              </a:r>
              <a:r>
                <a:rPr lang="en-US" altLang="ko-KR" sz="1200" dirty="0">
                  <a:cs typeface="Arial" pitchFamily="34" charset="0"/>
                </a:rPr>
                <a:t> </a:t>
              </a:r>
              <a:r>
                <a:rPr lang="en-US" altLang="ko-KR" sz="1200" dirty="0" err="1">
                  <a:cs typeface="Arial" pitchFamily="34" charset="0"/>
                </a:rPr>
                <a:t>imajinasi</a:t>
              </a:r>
              <a:r>
                <a:rPr lang="en-US" altLang="ko-KR" sz="1200" dirty="0">
                  <a:cs typeface="Arial" pitchFamily="34" charset="0"/>
                </a:rPr>
                <a:t>, </a:t>
              </a:r>
              <a:r>
                <a:rPr lang="en-US" altLang="ko-KR" sz="1200" dirty="0" err="1">
                  <a:cs typeface="Arial" pitchFamily="34" charset="0"/>
                </a:rPr>
                <a:t>berbagai</a:t>
              </a:r>
              <a:r>
                <a:rPr lang="en-US" altLang="ko-KR" sz="1200" dirty="0">
                  <a:cs typeface="Arial" pitchFamily="34" charset="0"/>
                </a:rPr>
                <a:t>  </a:t>
              </a:r>
              <a:r>
                <a:rPr lang="en-US" altLang="ko-KR" sz="1200" dirty="0" err="1">
                  <a:cs typeface="Arial" pitchFamily="34" charset="0"/>
                </a:rPr>
                <a:t>stimulan</a:t>
              </a:r>
              <a:r>
                <a:rPr lang="en-US" altLang="ko-KR" sz="1200" dirty="0">
                  <a:cs typeface="Arial" pitchFamily="34" charset="0"/>
                </a:rPr>
                <a:t>, dan </a:t>
              </a:r>
              <a:r>
                <a:rPr lang="en-US" altLang="ko-KR" sz="1200" dirty="0" err="1">
                  <a:cs typeface="Arial" pitchFamily="34" charset="0"/>
                </a:rPr>
                <a:t>individu</a:t>
              </a:r>
              <a:r>
                <a:rPr lang="en-US" altLang="ko-KR" sz="1200" dirty="0">
                  <a:cs typeface="Arial" pitchFamily="34" charset="0"/>
                </a:rPr>
                <a:t> yang </a:t>
              </a:r>
              <a:r>
                <a:rPr lang="en-US" altLang="ko-KR" sz="1200" dirty="0" err="1">
                  <a:cs typeface="Arial" pitchFamily="34" charset="0"/>
                </a:rPr>
                <a:t>mengelilinginya</a:t>
              </a:r>
              <a:r>
                <a:rPr lang="en-US" altLang="ko-KR" sz="1200" dirty="0">
                  <a:cs typeface="Arial" pitchFamily="34" charset="0"/>
                </a:rPr>
                <a:t> </a:t>
              </a:r>
              <a:r>
                <a:rPr lang="en-US" altLang="ko-KR" sz="1200" dirty="0" err="1">
                  <a:cs typeface="Arial" pitchFamily="34" charset="0"/>
                </a:rPr>
                <a:t>dalam</a:t>
              </a:r>
              <a:r>
                <a:rPr lang="en-US" altLang="ko-KR" sz="1200" dirty="0">
                  <a:cs typeface="Arial" pitchFamily="34" charset="0"/>
                </a:rPr>
                <a:t> </a:t>
              </a:r>
              <a:r>
                <a:rPr lang="en-US" altLang="ko-KR" sz="1200" dirty="0" err="1">
                  <a:cs typeface="Arial" pitchFamily="34" charset="0"/>
                </a:rPr>
                <a:t>menghasilkan</a:t>
              </a:r>
              <a:r>
                <a:rPr lang="en-US" altLang="ko-KR" sz="1200" dirty="0">
                  <a:cs typeface="Arial" pitchFamily="34" charset="0"/>
                </a:rPr>
                <a:t> </a:t>
              </a:r>
              <a:r>
                <a:rPr lang="en-US" altLang="ko-KR" sz="1200" dirty="0" err="1">
                  <a:cs typeface="Arial" pitchFamily="34" charset="0"/>
                </a:rPr>
                <a:t>produk</a:t>
              </a:r>
              <a:r>
                <a:rPr lang="en-US" altLang="ko-KR" sz="1200" dirty="0">
                  <a:cs typeface="Arial" pitchFamily="34" charset="0"/>
                </a:rPr>
                <a:t> </a:t>
              </a:r>
              <a:r>
                <a:rPr lang="en-US" altLang="ko-KR" sz="1200" dirty="0" err="1">
                  <a:cs typeface="Arial" pitchFamily="34" charset="0"/>
                </a:rPr>
                <a:t>baru</a:t>
              </a:r>
              <a:r>
                <a:rPr lang="en-US" altLang="ko-KR" sz="1200" dirty="0">
                  <a:cs typeface="Arial" pitchFamily="34" charset="0"/>
                </a:rPr>
                <a:t>, yang </a:t>
              </a:r>
              <a:r>
                <a:rPr lang="en-US" altLang="ko-KR" sz="1200" dirty="0" err="1">
                  <a:cs typeface="Arial" pitchFamily="34" charset="0"/>
                </a:rPr>
                <a:t>berguna</a:t>
              </a:r>
              <a:r>
                <a:rPr lang="en-US" altLang="ko-KR" sz="1200" dirty="0">
                  <a:cs typeface="Arial" pitchFamily="34" charset="0"/>
                </a:rPr>
                <a:t> </a:t>
              </a:r>
              <a:r>
                <a:rPr lang="en-US" altLang="ko-KR" sz="1200" dirty="0" err="1">
                  <a:cs typeface="Arial" pitchFamily="34" charset="0"/>
                </a:rPr>
                <a:t>baik</a:t>
              </a:r>
              <a:r>
                <a:rPr lang="en-US" altLang="ko-KR" sz="1200" dirty="0">
                  <a:cs typeface="Arial" pitchFamily="34" charset="0"/>
                </a:rPr>
                <a:t> </a:t>
              </a:r>
              <a:r>
                <a:rPr lang="en-US" altLang="ko-KR" sz="1200" dirty="0" err="1">
                  <a:cs typeface="Arial" pitchFamily="34" charset="0"/>
                </a:rPr>
                <a:t>bagi</a:t>
              </a:r>
              <a:r>
                <a:rPr lang="en-US" altLang="ko-KR" sz="1200" dirty="0">
                  <a:cs typeface="Arial" pitchFamily="34" charset="0"/>
                </a:rPr>
                <a:t> </a:t>
              </a:r>
              <a:r>
                <a:rPr lang="en-US" altLang="ko-KR" sz="1200" dirty="0" err="1">
                  <a:cs typeface="Arial" pitchFamily="34" charset="0"/>
                </a:rPr>
                <a:t>dirinya</a:t>
              </a:r>
              <a:r>
                <a:rPr lang="en-US" altLang="ko-KR" sz="1200" dirty="0">
                  <a:cs typeface="Arial" pitchFamily="34" charset="0"/>
                </a:rPr>
                <a:t> </a:t>
              </a:r>
              <a:r>
                <a:rPr lang="en-US" altLang="ko-KR" sz="1200" dirty="0" err="1">
                  <a:cs typeface="Arial" pitchFamily="34" charset="0"/>
                </a:rPr>
                <a:t>sendiri</a:t>
              </a:r>
              <a:r>
                <a:rPr lang="en-US" altLang="ko-KR" sz="1200" dirty="0">
                  <a:cs typeface="Arial" pitchFamily="34" charset="0"/>
                </a:rPr>
                <a:t> </a:t>
              </a:r>
              <a:r>
                <a:rPr lang="en-US" altLang="ko-KR" sz="1200" dirty="0" err="1">
                  <a:cs typeface="Arial" pitchFamily="34" charset="0"/>
                </a:rPr>
                <a:t>ataupun</a:t>
              </a:r>
              <a:r>
                <a:rPr lang="en-US" altLang="ko-KR" sz="1200" dirty="0">
                  <a:cs typeface="Arial" pitchFamily="34" charset="0"/>
                </a:rPr>
                <a:t> </a:t>
              </a:r>
              <a:r>
                <a:rPr lang="en-US" altLang="ko-KR" sz="1200" dirty="0" err="1">
                  <a:cs typeface="Arial" pitchFamily="34" charset="0"/>
                </a:rPr>
                <a:t>lingkungannya</a:t>
              </a:r>
              <a:r>
                <a:rPr lang="en-US" altLang="ko-KR" sz="1200" dirty="0">
                  <a:cs typeface="Arial" pitchFamily="34" charset="0"/>
                </a:rPr>
                <a:t>.</a:t>
              </a:r>
            </a:p>
          </p:txBody>
        </p:sp>
        <p:sp>
          <p:nvSpPr>
            <p:cNvPr id="9" name="TextBox 8"/>
            <p:cNvSpPr txBox="1"/>
            <p:nvPr/>
          </p:nvSpPr>
          <p:spPr>
            <a:xfrm>
              <a:off x="6751979" y="1666120"/>
              <a:ext cx="4507692" cy="338555"/>
            </a:xfrm>
            <a:prstGeom prst="rect">
              <a:avLst/>
            </a:prstGeom>
            <a:noFill/>
          </p:spPr>
          <p:txBody>
            <a:bodyPr wrap="square" lIns="81000" rIns="81000" rtlCol="0">
              <a:spAutoFit/>
            </a:bodyPr>
            <a:lstStyle/>
            <a:p>
              <a:r>
                <a:rPr lang="en-US" altLang="ko-KR" sz="1050" b="1" dirty="0">
                  <a:solidFill>
                    <a:schemeClr val="accent3"/>
                  </a:solidFill>
                  <a:cs typeface="Arial" pitchFamily="34" charset="0"/>
                </a:rPr>
                <a:t>PNS INOVATIF</a:t>
              </a:r>
            </a:p>
          </p:txBody>
        </p:sp>
      </p:grpSp>
      <p:grpSp>
        <p:nvGrpSpPr>
          <p:cNvPr id="26" name="Group 25">
            <a:extLst>
              <a:ext uri="{FF2B5EF4-FFF2-40B4-BE49-F238E27FC236}">
                <a16:creationId xmlns:a16="http://schemas.microsoft.com/office/drawing/2014/main" id="{2A7CA9C8-FDF5-4E96-A012-E8E524C9AF6B}"/>
              </a:ext>
            </a:extLst>
          </p:cNvPr>
          <p:cNvGrpSpPr/>
          <p:nvPr/>
        </p:nvGrpSpPr>
        <p:grpSpPr>
          <a:xfrm rot="5400000">
            <a:off x="6782802" y="2430383"/>
            <a:ext cx="4439654" cy="282741"/>
            <a:chOff x="4379494" y="697832"/>
            <a:chExt cx="2586787" cy="168442"/>
          </a:xfrm>
        </p:grpSpPr>
        <p:sp>
          <p:nvSpPr>
            <p:cNvPr id="27" name="Rectangle 26">
              <a:extLst>
                <a:ext uri="{FF2B5EF4-FFF2-40B4-BE49-F238E27FC236}">
                  <a16:creationId xmlns:a16="http://schemas.microsoft.com/office/drawing/2014/main" id="{1326ABE8-C7BB-442E-840A-D50FC1DD044F}"/>
                </a:ext>
              </a:extLst>
            </p:cNvPr>
            <p:cNvSpPr/>
            <p:nvPr/>
          </p:nvSpPr>
          <p:spPr>
            <a:xfrm>
              <a:off x="4379494" y="697832"/>
              <a:ext cx="517358" cy="168442"/>
            </a:xfrm>
            <a:prstGeom prst="rect">
              <a:avLst/>
            </a:prstGeom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/>
            </a:p>
          </p:txBody>
        </p:sp>
        <p:sp>
          <p:nvSpPr>
            <p:cNvPr id="28" name="Rectangle 27">
              <a:extLst>
                <a:ext uri="{FF2B5EF4-FFF2-40B4-BE49-F238E27FC236}">
                  <a16:creationId xmlns:a16="http://schemas.microsoft.com/office/drawing/2014/main" id="{F9866835-F79F-42D8-8D5D-E04BDB39E262}"/>
                </a:ext>
              </a:extLst>
            </p:cNvPr>
            <p:cNvSpPr/>
            <p:nvPr/>
          </p:nvSpPr>
          <p:spPr>
            <a:xfrm>
              <a:off x="4896852" y="697832"/>
              <a:ext cx="517358" cy="168442"/>
            </a:xfrm>
            <a:prstGeom prst="rect">
              <a:avLst/>
            </a:prstGeom>
            <a:solidFill>
              <a:schemeClr val="accent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/>
            </a:p>
          </p:txBody>
        </p:sp>
        <p:sp>
          <p:nvSpPr>
            <p:cNvPr id="29" name="Rectangle 28">
              <a:extLst>
                <a:ext uri="{FF2B5EF4-FFF2-40B4-BE49-F238E27FC236}">
                  <a16:creationId xmlns:a16="http://schemas.microsoft.com/office/drawing/2014/main" id="{19C395C0-7559-44A7-BA81-93FD49DD2D73}"/>
                </a:ext>
              </a:extLst>
            </p:cNvPr>
            <p:cNvSpPr/>
            <p:nvPr/>
          </p:nvSpPr>
          <p:spPr>
            <a:xfrm>
              <a:off x="5414209" y="697832"/>
              <a:ext cx="517358" cy="168442"/>
            </a:xfrm>
            <a:prstGeom prst="rect">
              <a:avLst/>
            </a:prstGeom>
            <a:solidFill>
              <a:schemeClr val="accent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/>
            </a:p>
          </p:txBody>
        </p:sp>
        <p:sp>
          <p:nvSpPr>
            <p:cNvPr id="30" name="Rectangle 29">
              <a:extLst>
                <a:ext uri="{FF2B5EF4-FFF2-40B4-BE49-F238E27FC236}">
                  <a16:creationId xmlns:a16="http://schemas.microsoft.com/office/drawing/2014/main" id="{527EFBB4-0EF0-4995-A85A-9AB27DC72B1D}"/>
                </a:ext>
              </a:extLst>
            </p:cNvPr>
            <p:cNvSpPr/>
            <p:nvPr/>
          </p:nvSpPr>
          <p:spPr>
            <a:xfrm>
              <a:off x="5931566" y="697832"/>
              <a:ext cx="517358" cy="168442"/>
            </a:xfrm>
            <a:prstGeom prst="rect">
              <a:avLst/>
            </a:prstGeom>
            <a:solidFill>
              <a:schemeClr val="accent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/>
            </a:p>
          </p:txBody>
        </p:sp>
        <p:sp>
          <p:nvSpPr>
            <p:cNvPr id="31" name="Rectangle 30">
              <a:extLst>
                <a:ext uri="{FF2B5EF4-FFF2-40B4-BE49-F238E27FC236}">
                  <a16:creationId xmlns:a16="http://schemas.microsoft.com/office/drawing/2014/main" id="{A5F89E9D-1C44-41B8-91F1-E08EC348E972}"/>
                </a:ext>
              </a:extLst>
            </p:cNvPr>
            <p:cNvSpPr/>
            <p:nvPr/>
          </p:nvSpPr>
          <p:spPr>
            <a:xfrm>
              <a:off x="6448923" y="697832"/>
              <a:ext cx="517358" cy="168442"/>
            </a:xfrm>
            <a:prstGeom prst="rect">
              <a:avLst/>
            </a:prstGeom>
            <a:solidFill>
              <a:schemeClr val="accent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ko-KR" altLang="en-US" sz="1050"/>
            </a:p>
          </p:txBody>
        </p:sp>
      </p:grpSp>
      <p:grpSp>
        <p:nvGrpSpPr>
          <p:cNvPr id="33" name="Group 32">
            <a:extLst>
              <a:ext uri="{FF2B5EF4-FFF2-40B4-BE49-F238E27FC236}">
                <a16:creationId xmlns:a16="http://schemas.microsoft.com/office/drawing/2014/main" id="{70A0D5DA-ED90-4164-A50D-B4DB08C05BAC}"/>
              </a:ext>
            </a:extLst>
          </p:cNvPr>
          <p:cNvGrpSpPr/>
          <p:nvPr/>
        </p:nvGrpSpPr>
        <p:grpSpPr>
          <a:xfrm>
            <a:off x="7918349" y="379375"/>
            <a:ext cx="886079" cy="489098"/>
            <a:chOff x="9921341" y="214971"/>
            <a:chExt cx="2195146" cy="1211678"/>
          </a:xfrm>
        </p:grpSpPr>
        <p:pic>
          <p:nvPicPr>
            <p:cNvPr id="34" name="Picture 33">
              <a:extLst>
                <a:ext uri="{FF2B5EF4-FFF2-40B4-BE49-F238E27FC236}">
                  <a16:creationId xmlns:a16="http://schemas.microsoft.com/office/drawing/2014/main" id="{E79257A9-4E23-4397-B869-272ED4295E42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486" t="10276" r="10972" b="7017"/>
            <a:stretch/>
          </p:blipFill>
          <p:spPr>
            <a:xfrm>
              <a:off x="11019207" y="243065"/>
              <a:ext cx="1097280" cy="1155491"/>
            </a:xfrm>
            <a:prstGeom prst="rect">
              <a:avLst/>
            </a:prstGeom>
          </p:spPr>
        </p:pic>
        <p:pic>
          <p:nvPicPr>
            <p:cNvPr id="35" name="Picture 34">
              <a:extLst>
                <a:ext uri="{FF2B5EF4-FFF2-40B4-BE49-F238E27FC236}">
                  <a16:creationId xmlns:a16="http://schemas.microsoft.com/office/drawing/2014/main" id="{E11DDE60-CC58-4151-9C44-8FD425603929}"/>
                </a:ext>
              </a:extLst>
            </p:cNvPr>
            <p:cNvPicPr>
              <a:picLocks noChangeAspect="1"/>
            </p:cNvPicPr>
            <p:nvPr/>
          </p:nvPicPr>
          <p:blipFill>
            <a:blip r:embed="rId4" cstate="print">
              <a:extLst>
                <a:ext uri="{BEBA8EAE-BF5A-486C-A8C5-ECC9F3942E4B}">
                  <a14:imgProps xmlns:a14="http://schemas.microsoft.com/office/drawing/2010/main">
                    <a14:imgLayer r:embed="rId5">
                      <a14:imgEffect>
                        <a14:colorTemperature colorTemp="11200"/>
                      </a14:imgEffect>
                      <a14:imgEffect>
                        <a14:brightnessContrast bright="4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21341" y="214971"/>
              <a:ext cx="1022353" cy="1211678"/>
            </a:xfrm>
            <a:prstGeom prst="rect">
              <a:avLst/>
            </a:prstGeom>
          </p:spPr>
        </p:pic>
      </p:grpSp>
      <p:cxnSp>
        <p:nvCxnSpPr>
          <p:cNvPr id="6" name="Straight Connector 5">
            <a:extLst>
              <a:ext uri="{FF2B5EF4-FFF2-40B4-BE49-F238E27FC236}">
                <a16:creationId xmlns:a16="http://schemas.microsoft.com/office/drawing/2014/main" id="{9A29534C-4F18-4049-BA85-91D9A397181C}"/>
              </a:ext>
            </a:extLst>
          </p:cNvPr>
          <p:cNvCxnSpPr/>
          <p:nvPr/>
        </p:nvCxnSpPr>
        <p:spPr>
          <a:xfrm>
            <a:off x="1504336" y="1403421"/>
            <a:ext cx="6975987" cy="0"/>
          </a:xfrm>
          <a:prstGeom prst="line">
            <a:avLst/>
          </a:prstGeom>
          <a:ln>
            <a:solidFill>
              <a:schemeClr val="accent3"/>
            </a:solidFill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grpSp>
        <p:nvGrpSpPr>
          <p:cNvPr id="36" name="Group 35">
            <a:extLst>
              <a:ext uri="{FF2B5EF4-FFF2-40B4-BE49-F238E27FC236}">
                <a16:creationId xmlns:a16="http://schemas.microsoft.com/office/drawing/2014/main" id="{AA80AE2F-AD4E-4D36-84EA-544FFED78288}"/>
              </a:ext>
            </a:extLst>
          </p:cNvPr>
          <p:cNvGrpSpPr/>
          <p:nvPr/>
        </p:nvGrpSpPr>
        <p:grpSpPr>
          <a:xfrm>
            <a:off x="154857" y="2394561"/>
            <a:ext cx="8537592" cy="733871"/>
            <a:chOff x="6751979" y="1666120"/>
            <a:chExt cx="4520316" cy="978495"/>
          </a:xfrm>
        </p:grpSpPr>
        <p:sp>
          <p:nvSpPr>
            <p:cNvPr id="37" name="TextBox 36">
              <a:extLst>
                <a:ext uri="{FF2B5EF4-FFF2-40B4-BE49-F238E27FC236}">
                  <a16:creationId xmlns:a16="http://schemas.microsoft.com/office/drawing/2014/main" id="{9F0CCFEB-D447-480D-9BAE-69A3C983E31E}"/>
                </a:ext>
              </a:extLst>
            </p:cNvPr>
            <p:cNvSpPr txBox="1"/>
            <p:nvPr/>
          </p:nvSpPr>
          <p:spPr>
            <a:xfrm>
              <a:off x="6764603" y="2029061"/>
              <a:ext cx="4507692" cy="615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200" dirty="0" err="1">
                  <a:cs typeface="Arial" pitchFamily="34" charset="0"/>
                </a:rPr>
                <a:t>Sosok</a:t>
              </a:r>
              <a:r>
                <a:rPr lang="en-US" altLang="ko-KR" sz="1200" dirty="0">
                  <a:cs typeface="Arial" pitchFamily="34" charset="0"/>
                </a:rPr>
                <a:t> PNS </a:t>
              </a:r>
              <a:r>
                <a:rPr lang="en-US" altLang="ko-KR" sz="1200" dirty="0" err="1">
                  <a:cs typeface="Arial" pitchFamily="34" charset="0"/>
                </a:rPr>
                <a:t>panutan</a:t>
              </a:r>
              <a:r>
                <a:rPr lang="en-US" altLang="ko-KR" sz="1200" dirty="0">
                  <a:cs typeface="Arial" pitchFamily="34" charset="0"/>
                </a:rPr>
                <a:t> yang </a:t>
              </a:r>
              <a:r>
                <a:rPr lang="en-US" altLang="ko-KR" sz="1200" dirty="0" err="1">
                  <a:cs typeface="Arial" pitchFamily="34" charset="0"/>
                </a:rPr>
                <a:t>dapat</a:t>
              </a:r>
              <a:r>
                <a:rPr lang="en-US" altLang="ko-KR" sz="1200" dirty="0">
                  <a:cs typeface="Arial" pitchFamily="34" charset="0"/>
                </a:rPr>
                <a:t> </a:t>
              </a:r>
              <a:r>
                <a:rPr lang="en-US" altLang="ko-KR" sz="1200" dirty="0" err="1">
                  <a:cs typeface="Arial" pitchFamily="34" charset="0"/>
                </a:rPr>
                <a:t>mengilhami</a:t>
              </a:r>
              <a:r>
                <a:rPr lang="en-US" altLang="ko-KR" sz="1200" dirty="0">
                  <a:cs typeface="Arial" pitchFamily="34" charset="0"/>
                </a:rPr>
                <a:t>, </a:t>
              </a:r>
              <a:r>
                <a:rPr lang="en-US" altLang="ko-KR" sz="1200" dirty="0" err="1">
                  <a:cs typeface="Arial" pitchFamily="34" charset="0"/>
                </a:rPr>
                <a:t>menggerakan</a:t>
              </a:r>
              <a:r>
                <a:rPr lang="en-US" altLang="ko-KR" sz="1200" dirty="0">
                  <a:cs typeface="Arial" pitchFamily="34" charset="0"/>
                </a:rPr>
                <a:t>,  </a:t>
              </a:r>
              <a:r>
                <a:rPr lang="en-US" altLang="ko-KR" sz="1200" dirty="0" err="1">
                  <a:cs typeface="Arial" pitchFamily="34" charset="0"/>
                </a:rPr>
                <a:t>membangkitkan</a:t>
              </a:r>
              <a:r>
                <a:rPr lang="en-US" altLang="ko-KR" sz="1200" dirty="0">
                  <a:cs typeface="Arial" pitchFamily="34" charset="0"/>
                </a:rPr>
                <a:t> dan </a:t>
              </a:r>
              <a:r>
                <a:rPr lang="en-US" altLang="ko-KR" sz="1200" dirty="0" err="1">
                  <a:cs typeface="Arial" pitchFamily="34" charset="0"/>
                </a:rPr>
                <a:t>mengobarkan</a:t>
              </a:r>
              <a:r>
                <a:rPr lang="en-US" altLang="ko-KR" sz="1200" dirty="0">
                  <a:cs typeface="Arial" pitchFamily="34" charset="0"/>
                </a:rPr>
                <a:t> </a:t>
              </a:r>
              <a:r>
                <a:rPr lang="en-US" altLang="ko-KR" sz="1200" dirty="0" err="1">
                  <a:cs typeface="Arial" pitchFamily="34" charset="0"/>
                </a:rPr>
                <a:t>semangat</a:t>
              </a:r>
              <a:r>
                <a:rPr lang="en-US" altLang="ko-KR" sz="1200" dirty="0">
                  <a:cs typeface="Arial" pitchFamily="34" charset="0"/>
                </a:rPr>
                <a:t> </a:t>
              </a:r>
              <a:r>
                <a:rPr lang="en-US" altLang="ko-KR" sz="1200" dirty="0" err="1">
                  <a:cs typeface="Arial" pitchFamily="34" charset="0"/>
                </a:rPr>
                <a:t>bagi</a:t>
              </a:r>
              <a:r>
                <a:rPr lang="en-US" altLang="ko-KR" sz="1200" dirty="0">
                  <a:cs typeface="Arial" pitchFamily="34" charset="0"/>
                </a:rPr>
                <a:t> </a:t>
              </a:r>
              <a:r>
                <a:rPr lang="en-US" altLang="ko-KR" sz="1200" dirty="0" err="1">
                  <a:cs typeface="Arial" pitchFamily="34" charset="0"/>
                </a:rPr>
                <a:t>diri</a:t>
              </a:r>
              <a:r>
                <a:rPr lang="en-US" altLang="ko-KR" sz="1200" dirty="0">
                  <a:cs typeface="Arial" pitchFamily="34" charset="0"/>
                </a:rPr>
                <a:t> dan </a:t>
              </a:r>
              <a:r>
                <a:rPr lang="en-US" altLang="ko-KR" sz="1200" dirty="0" err="1">
                  <a:cs typeface="Arial" pitchFamily="34" charset="0"/>
                </a:rPr>
                <a:t>lingkungannya</a:t>
              </a:r>
              <a:r>
                <a:rPr lang="en-US" altLang="ko-KR" sz="1200" dirty="0">
                  <a:cs typeface="Arial" pitchFamily="34" charset="0"/>
                </a:rPr>
                <a:t> </a:t>
              </a:r>
              <a:r>
                <a:rPr lang="en-US" altLang="ko-KR" sz="1200" dirty="0" err="1">
                  <a:cs typeface="Arial" pitchFamily="34" charset="0"/>
                </a:rPr>
                <a:t>untuk</a:t>
              </a:r>
              <a:r>
                <a:rPr lang="en-US" altLang="ko-KR" sz="1200" dirty="0">
                  <a:cs typeface="Arial" pitchFamily="34" charset="0"/>
                </a:rPr>
                <a:t> </a:t>
              </a:r>
              <a:r>
                <a:rPr lang="en-US" altLang="ko-KR" sz="1200" dirty="0" err="1">
                  <a:cs typeface="Arial" pitchFamily="34" charset="0"/>
                </a:rPr>
                <a:t>melakukan</a:t>
              </a:r>
              <a:r>
                <a:rPr lang="en-US" altLang="ko-KR" sz="1200" dirty="0">
                  <a:cs typeface="Arial" pitchFamily="34" charset="0"/>
                </a:rPr>
                <a:t> </a:t>
              </a:r>
              <a:r>
                <a:rPr lang="en-US" altLang="ko-KR" sz="1200" dirty="0" err="1">
                  <a:cs typeface="Arial" pitchFamily="34" charset="0"/>
                </a:rPr>
                <a:t>sesuatu</a:t>
              </a:r>
              <a:r>
                <a:rPr lang="en-US" altLang="ko-KR" sz="1200" dirty="0">
                  <a:cs typeface="Arial" pitchFamily="34" charset="0"/>
                </a:rPr>
                <a:t> yang </a:t>
              </a:r>
              <a:r>
                <a:rPr lang="en-US" altLang="ko-KR" sz="1200" dirty="0" err="1">
                  <a:cs typeface="Arial" pitchFamily="34" charset="0"/>
                </a:rPr>
                <a:t>positif</a:t>
              </a:r>
              <a:r>
                <a:rPr lang="en-US" altLang="ko-KR" sz="1200" dirty="0">
                  <a:cs typeface="Arial" pitchFamily="34" charset="0"/>
                </a:rPr>
                <a:t> dan </a:t>
              </a:r>
              <a:r>
                <a:rPr lang="en-US" altLang="ko-KR" sz="1200" dirty="0" err="1">
                  <a:cs typeface="Arial" pitchFamily="34" charset="0"/>
                </a:rPr>
                <a:t>berguna</a:t>
              </a:r>
              <a:endParaRPr lang="en-US" altLang="ko-KR" sz="1200" dirty="0">
                <a:cs typeface="Arial" pitchFamily="34" charset="0"/>
              </a:endParaRPr>
            </a:p>
          </p:txBody>
        </p:sp>
        <p:sp>
          <p:nvSpPr>
            <p:cNvPr id="38" name="TextBox 37">
              <a:extLst>
                <a:ext uri="{FF2B5EF4-FFF2-40B4-BE49-F238E27FC236}">
                  <a16:creationId xmlns:a16="http://schemas.microsoft.com/office/drawing/2014/main" id="{280EFCEA-8D63-4A3F-B887-E3FC8A20B18F}"/>
                </a:ext>
              </a:extLst>
            </p:cNvPr>
            <p:cNvSpPr txBox="1"/>
            <p:nvPr/>
          </p:nvSpPr>
          <p:spPr>
            <a:xfrm>
              <a:off x="6751979" y="1666120"/>
              <a:ext cx="4507692" cy="338555"/>
            </a:xfrm>
            <a:prstGeom prst="rect">
              <a:avLst/>
            </a:prstGeom>
            <a:noFill/>
          </p:spPr>
          <p:txBody>
            <a:bodyPr wrap="square" lIns="81000" rIns="81000" rtlCol="0">
              <a:spAutoFit/>
            </a:bodyPr>
            <a:lstStyle/>
            <a:p>
              <a:r>
                <a:rPr lang="en-US" altLang="ko-KR" sz="1050" b="1" dirty="0">
                  <a:solidFill>
                    <a:srgbClr val="C00000"/>
                  </a:solidFill>
                  <a:cs typeface="Arial" pitchFamily="34" charset="0"/>
                </a:rPr>
                <a:t>PNS INSPIRATIF</a:t>
              </a:r>
            </a:p>
          </p:txBody>
        </p:sp>
      </p:grpSp>
      <p:cxnSp>
        <p:nvCxnSpPr>
          <p:cNvPr id="39" name="Straight Connector 38">
            <a:extLst>
              <a:ext uri="{FF2B5EF4-FFF2-40B4-BE49-F238E27FC236}">
                <a16:creationId xmlns:a16="http://schemas.microsoft.com/office/drawing/2014/main" id="{B19CD3DE-09E2-4B5A-A18C-262EB1F3CA19}"/>
              </a:ext>
            </a:extLst>
          </p:cNvPr>
          <p:cNvCxnSpPr>
            <a:cxnSpLocks/>
          </p:cNvCxnSpPr>
          <p:nvPr/>
        </p:nvCxnSpPr>
        <p:spPr>
          <a:xfrm>
            <a:off x="1504336" y="2528010"/>
            <a:ext cx="6975987" cy="0"/>
          </a:xfrm>
          <a:prstGeom prst="line">
            <a:avLst/>
          </a:prstGeom>
          <a:ln>
            <a:solidFill>
              <a:srgbClr val="C00000"/>
            </a:solidFill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  <p:grpSp>
        <p:nvGrpSpPr>
          <p:cNvPr id="40" name="Group 39">
            <a:extLst>
              <a:ext uri="{FF2B5EF4-FFF2-40B4-BE49-F238E27FC236}">
                <a16:creationId xmlns:a16="http://schemas.microsoft.com/office/drawing/2014/main" id="{DC07AC86-2782-4653-96E6-615C162B9828}"/>
              </a:ext>
            </a:extLst>
          </p:cNvPr>
          <p:cNvGrpSpPr/>
          <p:nvPr/>
        </p:nvGrpSpPr>
        <p:grpSpPr>
          <a:xfrm>
            <a:off x="154857" y="3478567"/>
            <a:ext cx="8537592" cy="733871"/>
            <a:chOff x="6751979" y="1666120"/>
            <a:chExt cx="4520316" cy="978495"/>
          </a:xfrm>
        </p:grpSpPr>
        <p:sp>
          <p:nvSpPr>
            <p:cNvPr id="41" name="TextBox 40">
              <a:extLst>
                <a:ext uri="{FF2B5EF4-FFF2-40B4-BE49-F238E27FC236}">
                  <a16:creationId xmlns:a16="http://schemas.microsoft.com/office/drawing/2014/main" id="{8D4613D3-014F-4987-9E5D-3BA9A72EC269}"/>
                </a:ext>
              </a:extLst>
            </p:cNvPr>
            <p:cNvSpPr txBox="1"/>
            <p:nvPr/>
          </p:nvSpPr>
          <p:spPr>
            <a:xfrm>
              <a:off x="6764603" y="2029061"/>
              <a:ext cx="4507692" cy="615554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altLang="ko-KR" sz="1200" dirty="0" err="1">
                  <a:cs typeface="Arial" pitchFamily="34" charset="0"/>
                </a:rPr>
                <a:t>Sosok</a:t>
              </a:r>
              <a:r>
                <a:rPr lang="en-US" altLang="ko-KR" sz="1200" dirty="0">
                  <a:cs typeface="Arial" pitchFamily="34" charset="0"/>
                </a:rPr>
                <a:t> PNS  yang </a:t>
              </a:r>
              <a:r>
                <a:rPr lang="en-US" altLang="ko-KR" sz="1200" dirty="0" err="1">
                  <a:cs typeface="Arial" pitchFamily="34" charset="0"/>
                </a:rPr>
                <a:t>memiliki</a:t>
              </a:r>
              <a:r>
                <a:rPr lang="en-US" altLang="ko-KR" sz="1200" dirty="0">
                  <a:cs typeface="Arial" pitchFamily="34" charset="0"/>
                </a:rPr>
                <a:t> </a:t>
              </a:r>
              <a:r>
                <a:rPr lang="en-US" altLang="ko-KR" sz="1200" dirty="0" err="1">
                  <a:cs typeface="Arial" pitchFamily="34" charset="0"/>
                </a:rPr>
                <a:t>jiwa</a:t>
              </a:r>
              <a:r>
                <a:rPr lang="en-US" altLang="ko-KR" sz="1200" dirty="0">
                  <a:cs typeface="Arial" pitchFamily="34" charset="0"/>
                </a:rPr>
                <a:t> </a:t>
              </a:r>
              <a:r>
                <a:rPr lang="en-US" altLang="ko-KR" sz="1200" dirty="0" err="1">
                  <a:cs typeface="Arial" pitchFamily="34" charset="0"/>
                </a:rPr>
                <a:t>kepemimpinan</a:t>
              </a:r>
              <a:r>
                <a:rPr lang="en-US" altLang="ko-KR" sz="1200" dirty="0">
                  <a:cs typeface="Arial" pitchFamily="34" charset="0"/>
                </a:rPr>
                <a:t> yang </a:t>
              </a:r>
              <a:r>
                <a:rPr lang="en-US" altLang="ko-KR" sz="1200" dirty="0" err="1">
                  <a:cs typeface="Arial" pitchFamily="34" charset="0"/>
                </a:rPr>
                <a:t>positif</a:t>
              </a:r>
              <a:r>
                <a:rPr lang="en-US" altLang="ko-KR" sz="1200" dirty="0">
                  <a:cs typeface="Arial" pitchFamily="34" charset="0"/>
                </a:rPr>
                <a:t>, </a:t>
              </a:r>
              <a:r>
                <a:rPr lang="en-US" altLang="ko-KR" sz="1200" dirty="0" err="1">
                  <a:cs typeface="Arial" pitchFamily="34" charset="0"/>
                </a:rPr>
                <a:t>partisipatif</a:t>
              </a:r>
              <a:r>
                <a:rPr lang="en-US" altLang="ko-KR" sz="1200" dirty="0">
                  <a:cs typeface="Arial" pitchFamily="34" charset="0"/>
                </a:rPr>
                <a:t>, </a:t>
              </a:r>
              <a:r>
                <a:rPr lang="en-US" altLang="ko-KR" sz="1200" dirty="0" err="1">
                  <a:cs typeface="Arial" pitchFamily="34" charset="0"/>
                </a:rPr>
                <a:t>berorientasi</a:t>
              </a:r>
              <a:r>
                <a:rPr lang="en-US" altLang="ko-KR" sz="1200" dirty="0">
                  <a:cs typeface="Arial" pitchFamily="34" charset="0"/>
                </a:rPr>
                <a:t> pada </a:t>
              </a:r>
              <a:r>
                <a:rPr lang="en-US" altLang="ko-KR" sz="1200" dirty="0" err="1">
                  <a:cs typeface="Arial" pitchFamily="34" charset="0"/>
                </a:rPr>
                <a:t>hasil</a:t>
              </a:r>
              <a:r>
                <a:rPr lang="en-US" altLang="ko-KR" sz="1200" dirty="0">
                  <a:cs typeface="Arial" pitchFamily="34" charset="0"/>
                </a:rPr>
                <a:t>, </a:t>
              </a:r>
              <a:r>
                <a:rPr lang="en-US" altLang="ko-KR" sz="1200" dirty="0" err="1">
                  <a:cs typeface="Arial" pitchFamily="34" charset="0"/>
                </a:rPr>
                <a:t>mampu</a:t>
              </a:r>
              <a:r>
                <a:rPr lang="en-US" altLang="ko-KR" sz="1200" dirty="0">
                  <a:cs typeface="Arial" pitchFamily="34" charset="0"/>
                </a:rPr>
                <a:t> </a:t>
              </a:r>
              <a:r>
                <a:rPr lang="en-US" altLang="ko-KR" sz="1200" dirty="0" err="1">
                  <a:cs typeface="Arial" pitchFamily="34" charset="0"/>
                </a:rPr>
                <a:t>melihat</a:t>
              </a:r>
              <a:r>
                <a:rPr lang="en-US" altLang="ko-KR" sz="1200" dirty="0">
                  <a:cs typeface="Arial" pitchFamily="34" charset="0"/>
                </a:rPr>
                <a:t> </a:t>
              </a:r>
              <a:r>
                <a:rPr lang="en-US" altLang="ko-KR" sz="1200" dirty="0" err="1">
                  <a:cs typeface="Arial" pitchFamily="34" charset="0"/>
                </a:rPr>
                <a:t>jauh</a:t>
              </a:r>
              <a:r>
                <a:rPr lang="en-US" altLang="ko-KR" sz="1200" dirty="0">
                  <a:cs typeface="Arial" pitchFamily="34" charset="0"/>
                </a:rPr>
                <a:t> </a:t>
              </a:r>
              <a:r>
                <a:rPr lang="en-US" altLang="ko-KR" sz="1200" dirty="0" err="1">
                  <a:cs typeface="Arial" pitchFamily="34" charset="0"/>
                </a:rPr>
                <a:t>ke</a:t>
              </a:r>
              <a:r>
                <a:rPr lang="en-US" altLang="ko-KR" sz="1200" dirty="0">
                  <a:cs typeface="Arial" pitchFamily="34" charset="0"/>
                </a:rPr>
                <a:t>  </a:t>
              </a:r>
              <a:r>
                <a:rPr lang="en-US" altLang="ko-KR" sz="1200" dirty="0" err="1">
                  <a:cs typeface="Arial" pitchFamily="34" charset="0"/>
                </a:rPr>
                <a:t>depan</a:t>
              </a:r>
              <a:r>
                <a:rPr lang="en-US" altLang="ko-KR" sz="1200" dirty="0">
                  <a:cs typeface="Arial" pitchFamily="34" charset="0"/>
                </a:rPr>
                <a:t>, </a:t>
              </a:r>
              <a:r>
                <a:rPr lang="en-US" altLang="ko-KR" sz="1200" dirty="0" err="1">
                  <a:cs typeface="Arial" pitchFamily="34" charset="0"/>
                </a:rPr>
                <a:t>memiliki</a:t>
              </a:r>
              <a:r>
                <a:rPr lang="en-US" altLang="ko-KR" sz="1200" dirty="0">
                  <a:cs typeface="Arial" pitchFamily="34" charset="0"/>
                </a:rPr>
                <a:t> </a:t>
              </a:r>
              <a:r>
                <a:rPr lang="en-US" altLang="ko-KR" sz="1200" dirty="0" err="1">
                  <a:cs typeface="Arial" pitchFamily="34" charset="0"/>
                </a:rPr>
                <a:t>kecepatan</a:t>
              </a:r>
              <a:r>
                <a:rPr lang="en-US" altLang="ko-KR" sz="1200" dirty="0">
                  <a:cs typeface="Arial" pitchFamily="34" charset="0"/>
                </a:rPr>
                <a:t> </a:t>
              </a:r>
              <a:r>
                <a:rPr lang="en-US" altLang="ko-KR" sz="1200" dirty="0" err="1">
                  <a:cs typeface="Arial" pitchFamily="34" charset="0"/>
                </a:rPr>
                <a:t>dalam</a:t>
              </a:r>
              <a:r>
                <a:rPr lang="en-US" altLang="ko-KR" sz="1200" dirty="0">
                  <a:cs typeface="Arial" pitchFamily="34" charset="0"/>
                </a:rPr>
                <a:t> </a:t>
              </a:r>
              <a:r>
                <a:rPr lang="en-US" altLang="ko-KR" sz="1200" dirty="0" err="1">
                  <a:cs typeface="Arial" pitchFamily="34" charset="0"/>
                </a:rPr>
                <a:t>membuat</a:t>
              </a:r>
              <a:r>
                <a:rPr lang="en-US" altLang="ko-KR" sz="1200" dirty="0">
                  <a:cs typeface="Arial" pitchFamily="34" charset="0"/>
                </a:rPr>
                <a:t> </a:t>
              </a:r>
              <a:r>
                <a:rPr lang="en-US" altLang="ko-KR" sz="1200" dirty="0" err="1">
                  <a:cs typeface="Arial" pitchFamily="34" charset="0"/>
                </a:rPr>
                <a:t>keputusan</a:t>
              </a:r>
              <a:r>
                <a:rPr lang="en-US" altLang="ko-KR" sz="1200" dirty="0">
                  <a:cs typeface="Arial" pitchFamily="34" charset="0"/>
                </a:rPr>
                <a:t>, dan </a:t>
              </a:r>
              <a:r>
                <a:rPr lang="en-US" altLang="ko-KR" sz="1200" dirty="0" err="1">
                  <a:cs typeface="Arial" pitchFamily="34" charset="0"/>
                </a:rPr>
                <a:t>dapat</a:t>
              </a:r>
              <a:r>
                <a:rPr lang="en-US" altLang="ko-KR" sz="1200" dirty="0">
                  <a:cs typeface="Arial" pitchFamily="34" charset="0"/>
                </a:rPr>
                <a:t>  </a:t>
              </a:r>
              <a:r>
                <a:rPr lang="en-US" altLang="ko-KR" sz="1200" dirty="0" err="1">
                  <a:cs typeface="Arial" pitchFamily="34" charset="0"/>
                </a:rPr>
                <a:t>beradaptasi</a:t>
              </a:r>
              <a:r>
                <a:rPr lang="en-US" altLang="ko-KR" sz="1200" dirty="0">
                  <a:cs typeface="Arial" pitchFamily="34" charset="0"/>
                </a:rPr>
                <a:t> </a:t>
              </a:r>
              <a:r>
                <a:rPr lang="en-US" altLang="ko-KR" sz="1200" dirty="0" err="1">
                  <a:cs typeface="Arial" pitchFamily="34" charset="0"/>
                </a:rPr>
                <a:t>dengan</a:t>
              </a:r>
              <a:r>
                <a:rPr lang="en-US" altLang="ko-KR" sz="1200" dirty="0">
                  <a:cs typeface="Arial" pitchFamily="34" charset="0"/>
                </a:rPr>
                <a:t> </a:t>
              </a:r>
              <a:r>
                <a:rPr lang="en-US" altLang="ko-KR" sz="1200" dirty="0" err="1">
                  <a:cs typeface="Arial" pitchFamily="34" charset="0"/>
                </a:rPr>
                <a:t>cepat</a:t>
              </a:r>
              <a:r>
                <a:rPr lang="en-US" altLang="ko-KR" sz="1200" dirty="0">
                  <a:cs typeface="Arial" pitchFamily="34" charset="0"/>
                </a:rPr>
                <a:t> pada </a:t>
              </a:r>
              <a:r>
                <a:rPr lang="en-US" altLang="ko-KR" sz="1200" dirty="0" err="1">
                  <a:cs typeface="Arial" pitchFamily="34" charset="0"/>
                </a:rPr>
                <a:t>perubahan</a:t>
              </a:r>
              <a:r>
                <a:rPr lang="en-US" altLang="ko-KR" sz="1200" dirty="0">
                  <a:cs typeface="Arial" pitchFamily="34" charset="0"/>
                </a:rPr>
                <a:t> zaman.</a:t>
              </a:r>
            </a:p>
          </p:txBody>
        </p:sp>
        <p:sp>
          <p:nvSpPr>
            <p:cNvPr id="42" name="TextBox 41">
              <a:extLst>
                <a:ext uri="{FF2B5EF4-FFF2-40B4-BE49-F238E27FC236}">
                  <a16:creationId xmlns:a16="http://schemas.microsoft.com/office/drawing/2014/main" id="{CA81A7F9-BA52-4041-B7D7-F565B13ED13B}"/>
                </a:ext>
              </a:extLst>
            </p:cNvPr>
            <p:cNvSpPr txBox="1"/>
            <p:nvPr/>
          </p:nvSpPr>
          <p:spPr>
            <a:xfrm>
              <a:off x="6751979" y="1666120"/>
              <a:ext cx="4507692" cy="338555"/>
            </a:xfrm>
            <a:prstGeom prst="rect">
              <a:avLst/>
            </a:prstGeom>
            <a:noFill/>
          </p:spPr>
          <p:txBody>
            <a:bodyPr wrap="square" lIns="81000" rIns="81000" rtlCol="0">
              <a:spAutoFit/>
            </a:bodyPr>
            <a:lstStyle/>
            <a:p>
              <a:r>
                <a:rPr lang="en-US" altLang="ko-KR" sz="1050" b="1" dirty="0">
                  <a:solidFill>
                    <a:srgbClr val="DD19DD"/>
                  </a:solidFill>
                  <a:cs typeface="Arial" pitchFamily="34" charset="0"/>
                </a:rPr>
                <a:t>PNS THE FUTURE LEADER</a:t>
              </a:r>
            </a:p>
          </p:txBody>
        </p:sp>
      </p:grpSp>
      <p:cxnSp>
        <p:nvCxnSpPr>
          <p:cNvPr id="43" name="Straight Connector 42">
            <a:extLst>
              <a:ext uri="{FF2B5EF4-FFF2-40B4-BE49-F238E27FC236}">
                <a16:creationId xmlns:a16="http://schemas.microsoft.com/office/drawing/2014/main" id="{120E41C4-E719-4CFE-9C89-08610B94EC44}"/>
              </a:ext>
            </a:extLst>
          </p:cNvPr>
          <p:cNvCxnSpPr>
            <a:cxnSpLocks/>
          </p:cNvCxnSpPr>
          <p:nvPr/>
        </p:nvCxnSpPr>
        <p:spPr>
          <a:xfrm>
            <a:off x="2232660" y="3619391"/>
            <a:ext cx="6247663" cy="0"/>
          </a:xfrm>
          <a:prstGeom prst="line">
            <a:avLst/>
          </a:prstGeom>
          <a:ln>
            <a:solidFill>
              <a:srgbClr val="DD19DD"/>
            </a:solidFill>
          </a:ln>
        </p:spPr>
        <p:style>
          <a:lnRef idx="3">
            <a:schemeClr val="accent5"/>
          </a:lnRef>
          <a:fillRef idx="0">
            <a:schemeClr val="accent5"/>
          </a:fillRef>
          <a:effectRef idx="2">
            <a:schemeClr val="accent5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2515726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47000">
              <a:srgbClr val="00B0F0"/>
            </a:gs>
            <a:gs pos="0">
              <a:schemeClr val="accent1">
                <a:lumMod val="5000"/>
                <a:lumOff val="95000"/>
              </a:schemeClr>
            </a:gs>
            <a:gs pos="65000">
              <a:schemeClr val="accent6">
                <a:lumMod val="50000"/>
                <a:lumOff val="50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89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Shape 190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5" name="Picture 54">
            <a:extLst>
              <a:ext uri="{FF2B5EF4-FFF2-40B4-BE49-F238E27FC236}">
                <a16:creationId xmlns:a16="http://schemas.microsoft.com/office/drawing/2014/main" id="{37600D4C-1049-49F7-BF77-D192E66A9E53}"/>
              </a:ext>
            </a:extLst>
          </p:cNvPr>
          <p:cNvPicPr/>
          <p:nvPr/>
        </p:nvPicPr>
        <p:blipFill>
          <a:blip r:embed="rId3"/>
          <a:stretch>
            <a:fillRect/>
          </a:stretch>
        </p:blipFill>
        <p:spPr>
          <a:xfrm>
            <a:off x="703384" y="0"/>
            <a:ext cx="4714436" cy="5143500"/>
          </a:xfrm>
          <a:prstGeom prst="rect">
            <a:avLst/>
          </a:prstGeom>
        </p:spPr>
      </p:pic>
      <p:sp>
        <p:nvSpPr>
          <p:cNvPr id="60" name="TextBox 59">
            <a:extLst>
              <a:ext uri="{FF2B5EF4-FFF2-40B4-BE49-F238E27FC236}">
                <a16:creationId xmlns:a16="http://schemas.microsoft.com/office/drawing/2014/main" id="{96814662-6B48-4BFE-B893-5842C0EE9C99}"/>
              </a:ext>
            </a:extLst>
          </p:cNvPr>
          <p:cNvSpPr txBox="1"/>
          <p:nvPr/>
        </p:nvSpPr>
        <p:spPr>
          <a:xfrm>
            <a:off x="6203315" y="997931"/>
            <a:ext cx="2335450" cy="715089"/>
          </a:xfrm>
          <a:prstGeom prst="roundRect">
            <a:avLst/>
          </a:prstGeom>
          <a:ln/>
        </p:spPr>
        <p:style>
          <a:lnRef idx="2">
            <a:schemeClr val="accent5"/>
          </a:lnRef>
          <a:fillRef idx="1">
            <a:schemeClr val="lt1"/>
          </a:fillRef>
          <a:effectRef idx="0">
            <a:schemeClr val="accent5"/>
          </a:effectRef>
          <a:fontRef idx="minor">
            <a:schemeClr val="dk1"/>
          </a:fontRef>
        </p:style>
        <p:txBody>
          <a:bodyPr wrap="square" rtlCol="0" anchor="ctr">
            <a:spAutoFit/>
          </a:bodyPr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i-FI" altLang="ko-KR" sz="18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uLnTx/>
                <a:uFillTx/>
                <a:latin typeface="Barlow Condensed SemiBold" panose="00000706000000000000" pitchFamily="2" charset="0"/>
                <a:cs typeface="Arial" pitchFamily="34" charset="0"/>
              </a:rPr>
              <a:t>Alur Tahapan Proses  Seleksi PNS Berprestasi </a:t>
            </a:r>
            <a:endParaRPr kumimoji="0" lang="ko-KR" altLang="en-US" sz="1800" b="0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  <a:uLnTx/>
              <a:uFillTx/>
              <a:latin typeface="Barlow Condensed SemiBold" panose="00000706000000000000" pitchFamily="2" charset="0"/>
              <a:cs typeface="Arial" pitchFamily="34" charset="0"/>
            </a:endParaRPr>
          </a:p>
        </p:txBody>
      </p:sp>
      <p:grpSp>
        <p:nvGrpSpPr>
          <p:cNvPr id="61" name="Group 60">
            <a:extLst>
              <a:ext uri="{FF2B5EF4-FFF2-40B4-BE49-F238E27FC236}">
                <a16:creationId xmlns:a16="http://schemas.microsoft.com/office/drawing/2014/main" id="{E35BDD1A-6906-4647-803C-435BB7C670CA}"/>
              </a:ext>
            </a:extLst>
          </p:cNvPr>
          <p:cNvGrpSpPr/>
          <p:nvPr/>
        </p:nvGrpSpPr>
        <p:grpSpPr>
          <a:xfrm>
            <a:off x="6784048" y="123825"/>
            <a:ext cx="1173983" cy="648016"/>
            <a:chOff x="9921341" y="214971"/>
            <a:chExt cx="2195146" cy="1211678"/>
          </a:xfrm>
        </p:grpSpPr>
        <p:pic>
          <p:nvPicPr>
            <p:cNvPr id="62" name="Picture 61">
              <a:extLst>
                <a:ext uri="{FF2B5EF4-FFF2-40B4-BE49-F238E27FC236}">
                  <a16:creationId xmlns:a16="http://schemas.microsoft.com/office/drawing/2014/main" id="{18D7095E-80D9-4EBE-906D-AA32296FCD39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4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l="10486" t="10276" r="10972" b="7017"/>
            <a:stretch/>
          </p:blipFill>
          <p:spPr>
            <a:xfrm>
              <a:off x="11019207" y="243065"/>
              <a:ext cx="1097280" cy="1155491"/>
            </a:xfrm>
            <a:prstGeom prst="rect">
              <a:avLst/>
            </a:prstGeom>
          </p:spPr>
        </p:pic>
        <p:pic>
          <p:nvPicPr>
            <p:cNvPr id="63" name="Picture 62">
              <a:extLst>
                <a:ext uri="{FF2B5EF4-FFF2-40B4-BE49-F238E27FC236}">
                  <a16:creationId xmlns:a16="http://schemas.microsoft.com/office/drawing/2014/main" id="{99AB954C-D7F5-4858-9184-0E026EFF03E3}"/>
                </a:ext>
              </a:extLst>
            </p:cNvPr>
            <p:cNvPicPr>
              <a:picLocks noChangeAspect="1"/>
            </p:cNvPicPr>
            <p:nvPr/>
          </p:nvPicPr>
          <p:blipFill>
            <a:blip r:embed="rId5">
              <a:extLst>
                <a:ext uri="{BEBA8EAE-BF5A-486C-A8C5-ECC9F3942E4B}">
                  <a14:imgProps xmlns:a14="http://schemas.microsoft.com/office/drawing/2010/main">
                    <a14:imgLayer r:embed="rId6">
                      <a14:imgEffect>
                        <a14:colorTemperature colorTemp="11200"/>
                      </a14:imgEffect>
                      <a14:imgEffect>
                        <a14:brightnessContrast bright="40000" contrast="-40000"/>
                      </a14:imgEffect>
                    </a14:imgLayer>
                  </a14:imgProps>
                </a:ex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9921341" y="214971"/>
              <a:ext cx="1022353" cy="1211678"/>
            </a:xfrm>
            <a:prstGeom prst="rect">
              <a:avLst/>
            </a:prstGeom>
          </p:spPr>
        </p:pic>
      </p:grpSp>
      <p:sp>
        <p:nvSpPr>
          <p:cNvPr id="2" name="Arrow: Right 1">
            <a:extLst>
              <a:ext uri="{FF2B5EF4-FFF2-40B4-BE49-F238E27FC236}">
                <a16:creationId xmlns:a16="http://schemas.microsoft.com/office/drawing/2014/main" id="{3667D0FE-4F50-4AE6-82F1-535FE97CE16D}"/>
              </a:ext>
            </a:extLst>
          </p:cNvPr>
          <p:cNvSpPr/>
          <p:nvPr/>
        </p:nvSpPr>
        <p:spPr>
          <a:xfrm>
            <a:off x="2551814" y="2906236"/>
            <a:ext cx="2367516" cy="45719"/>
          </a:xfrm>
          <a:prstGeom prst="rightArrow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ID"/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DBB6DCC3-C5F1-4AB1-A399-53235BA976F7}"/>
              </a:ext>
            </a:extLst>
          </p:cNvPr>
          <p:cNvSpPr/>
          <p:nvPr/>
        </p:nvSpPr>
        <p:spPr>
          <a:xfrm>
            <a:off x="4982317" y="2710950"/>
            <a:ext cx="1220998" cy="482009"/>
          </a:xfrm>
          <a:prstGeom prst="round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1200" dirty="0"/>
              <a:t>Peserta TFL : </a:t>
            </a:r>
            <a:r>
              <a:rPr lang="en-US" sz="1200" i="1" dirty="0">
                <a:solidFill>
                  <a:schemeClr val="tx2">
                    <a:lumMod val="40000"/>
                    <a:lumOff val="60000"/>
                  </a:schemeClr>
                </a:solidFill>
              </a:rPr>
              <a:t>ASSESMENT</a:t>
            </a:r>
            <a:endParaRPr lang="en-ID" sz="1200" i="1" dirty="0">
              <a:solidFill>
                <a:schemeClr val="tx2">
                  <a:lumMod val="40000"/>
                  <a:lumOff val="60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3166560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47000">
              <a:srgbClr val="00B0F0"/>
            </a:gs>
            <a:gs pos="0">
              <a:schemeClr val="accent1">
                <a:lumMod val="5000"/>
                <a:lumOff val="95000"/>
              </a:schemeClr>
            </a:gs>
            <a:gs pos="65000">
              <a:schemeClr val="accent6">
                <a:lumMod val="50000"/>
                <a:lumOff val="50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89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Shape 13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0302FE3A-BB6E-4CC3-81F5-51F3165EA1B1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7548514"/>
              </p:ext>
            </p:extLst>
          </p:nvPr>
        </p:nvGraphicFramePr>
        <p:xfrm>
          <a:off x="277792" y="975361"/>
          <a:ext cx="8588413" cy="3854275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594765">
                  <a:extLst>
                    <a:ext uri="{9D8B030D-6E8A-4147-A177-3AD203B41FA5}">
                      <a16:colId xmlns:a16="http://schemas.microsoft.com/office/drawing/2014/main" val="2298346550"/>
                    </a:ext>
                  </a:extLst>
                </a:gridCol>
                <a:gridCol w="4372188">
                  <a:extLst>
                    <a:ext uri="{9D8B030D-6E8A-4147-A177-3AD203B41FA5}">
                      <a16:colId xmlns:a16="http://schemas.microsoft.com/office/drawing/2014/main" val="356068972"/>
                    </a:ext>
                  </a:extLst>
                </a:gridCol>
                <a:gridCol w="1248566">
                  <a:extLst>
                    <a:ext uri="{9D8B030D-6E8A-4147-A177-3AD203B41FA5}">
                      <a16:colId xmlns:a16="http://schemas.microsoft.com/office/drawing/2014/main" val="3665710967"/>
                    </a:ext>
                  </a:extLst>
                </a:gridCol>
                <a:gridCol w="1231544">
                  <a:extLst>
                    <a:ext uri="{9D8B030D-6E8A-4147-A177-3AD203B41FA5}">
                      <a16:colId xmlns:a16="http://schemas.microsoft.com/office/drawing/2014/main" val="1338832270"/>
                    </a:ext>
                  </a:extLst>
                </a:gridCol>
                <a:gridCol w="1141350">
                  <a:extLst>
                    <a:ext uri="{9D8B030D-6E8A-4147-A177-3AD203B41FA5}">
                      <a16:colId xmlns:a16="http://schemas.microsoft.com/office/drawing/2014/main" val="3606389917"/>
                    </a:ext>
                  </a:extLst>
                </a:gridCol>
              </a:tblGrid>
              <a:tr h="44365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b="1" dirty="0">
                          <a:solidFill>
                            <a:schemeClr val="bg2"/>
                          </a:solidFill>
                          <a:effectLst/>
                        </a:rPr>
                        <a:t>No</a:t>
                      </a:r>
                      <a:endParaRPr lang="en-ID" sz="1200" b="1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b="1" dirty="0">
                          <a:solidFill>
                            <a:schemeClr val="bg2"/>
                          </a:solidFill>
                          <a:effectLst/>
                        </a:rPr>
                        <a:t>Kriteria Penilaian</a:t>
                      </a:r>
                      <a:endParaRPr lang="en-ID" sz="1200" b="1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b="1" dirty="0">
                          <a:solidFill>
                            <a:schemeClr val="bg2"/>
                          </a:solidFill>
                          <a:effectLst/>
                        </a:rPr>
                        <a:t>Bobot </a:t>
                      </a:r>
                      <a:endParaRPr lang="en-ID" sz="1200" b="1" dirty="0">
                        <a:solidFill>
                          <a:schemeClr val="bg2"/>
                        </a:solidFill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b="1" dirty="0">
                          <a:solidFill>
                            <a:schemeClr val="bg2"/>
                          </a:solidFill>
                          <a:effectLst/>
                        </a:rPr>
                        <a:t>(%)</a:t>
                      </a:r>
                      <a:endParaRPr lang="en-ID" sz="1200" b="1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dirty="0" err="1">
                          <a:solidFill>
                            <a:schemeClr val="bg2"/>
                          </a:solidFill>
                          <a:effectLst/>
                        </a:rPr>
                        <a:t>Skor</a:t>
                      </a:r>
                      <a:endParaRPr lang="en-ID" sz="1200" b="1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b="1" dirty="0">
                          <a:solidFill>
                            <a:schemeClr val="bg2"/>
                          </a:solidFill>
                          <a:effectLst/>
                        </a:rPr>
                        <a:t>Nilai </a:t>
                      </a:r>
                      <a:endParaRPr lang="en-ID" sz="1200" b="1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41247"/>
                  </a:ext>
                </a:extLst>
              </a:tr>
              <a:tr h="67285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FFFFFF"/>
                          </a:solidFill>
                          <a:effectLst/>
                        </a:rPr>
                        <a:t>1.</a:t>
                      </a:r>
                      <a:endParaRPr lang="en-ID" sz="12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 err="1">
                          <a:solidFill>
                            <a:srgbClr val="FFFFFF"/>
                          </a:solidFill>
                          <a:effectLst/>
                        </a:rPr>
                        <a:t>Penguasaan</a:t>
                      </a:r>
                      <a:r>
                        <a:rPr lang="en-US" sz="1200" dirty="0">
                          <a:solidFill>
                            <a:srgbClr val="FFFFFF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rgbClr val="FFFFFF"/>
                          </a:solidFill>
                          <a:effectLst/>
                        </a:rPr>
                        <a:t>terhadap</a:t>
                      </a:r>
                      <a:r>
                        <a:rPr lang="en-US" sz="1200" dirty="0">
                          <a:solidFill>
                            <a:srgbClr val="FFFFFF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rgbClr val="FFFFFF"/>
                          </a:solidFill>
                          <a:effectLst/>
                        </a:rPr>
                        <a:t>Permasalahan</a:t>
                      </a:r>
                      <a:r>
                        <a:rPr lang="en-US" sz="1200" dirty="0">
                          <a:solidFill>
                            <a:srgbClr val="FFFFFF"/>
                          </a:solidFill>
                          <a:effectLst/>
                        </a:rPr>
                        <a:t> (</a:t>
                      </a:r>
                      <a:r>
                        <a:rPr lang="en-US" sz="1200" dirty="0" err="1">
                          <a:solidFill>
                            <a:srgbClr val="FFFFFF"/>
                          </a:solidFill>
                          <a:effectLst/>
                        </a:rPr>
                        <a:t>Analisis</a:t>
                      </a:r>
                      <a:r>
                        <a:rPr lang="en-US" sz="1200" dirty="0">
                          <a:solidFill>
                            <a:srgbClr val="FFFFFF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rgbClr val="FFFFFF"/>
                          </a:solidFill>
                          <a:effectLst/>
                        </a:rPr>
                        <a:t>Situasi</a:t>
                      </a:r>
                      <a:r>
                        <a:rPr lang="en-US" sz="1200" dirty="0">
                          <a:solidFill>
                            <a:srgbClr val="FFFFFF"/>
                          </a:solidFill>
                          <a:effectLst/>
                        </a:rPr>
                        <a:t>) </a:t>
                      </a:r>
                      <a:r>
                        <a:rPr lang="en-US" sz="1200" dirty="0" err="1">
                          <a:solidFill>
                            <a:srgbClr val="FFFFFF"/>
                          </a:solidFill>
                          <a:effectLst/>
                        </a:rPr>
                        <a:t>dalam</a:t>
                      </a:r>
                      <a:r>
                        <a:rPr lang="en-US" sz="1200" dirty="0">
                          <a:solidFill>
                            <a:srgbClr val="FFFFFF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rgbClr val="FFFFFF"/>
                          </a:solidFill>
                          <a:effectLst/>
                        </a:rPr>
                        <a:t>melaksanakan</a:t>
                      </a:r>
                      <a:r>
                        <a:rPr lang="en-US" sz="1200" dirty="0">
                          <a:solidFill>
                            <a:srgbClr val="FFFFFF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rgbClr val="FFFFFF"/>
                          </a:solidFill>
                          <a:effectLst/>
                        </a:rPr>
                        <a:t>pekerjaan</a:t>
                      </a:r>
                      <a:r>
                        <a:rPr lang="en-US" sz="1200" dirty="0">
                          <a:solidFill>
                            <a:srgbClr val="FFFFFF"/>
                          </a:solidFill>
                          <a:effectLst/>
                        </a:rPr>
                        <a:t> dan </a:t>
                      </a:r>
                      <a:r>
                        <a:rPr lang="en-US" sz="1200" dirty="0" err="1">
                          <a:solidFill>
                            <a:srgbClr val="FFFFFF"/>
                          </a:solidFill>
                          <a:effectLst/>
                        </a:rPr>
                        <a:t>Alternatif</a:t>
                      </a:r>
                      <a:r>
                        <a:rPr lang="en-US" sz="1200" dirty="0">
                          <a:solidFill>
                            <a:srgbClr val="FFFFFF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rgbClr val="FFFFFF"/>
                          </a:solidFill>
                          <a:effectLst/>
                        </a:rPr>
                        <a:t>Solusi</a:t>
                      </a:r>
                      <a:r>
                        <a:rPr lang="en-US" sz="1200" dirty="0">
                          <a:solidFill>
                            <a:srgbClr val="FFFFFF"/>
                          </a:solidFill>
                          <a:effectLst/>
                        </a:rPr>
                        <a:t> yang di </a:t>
                      </a:r>
                      <a:r>
                        <a:rPr lang="en-US" sz="1200" dirty="0" err="1">
                          <a:solidFill>
                            <a:srgbClr val="FFFFFF"/>
                          </a:solidFill>
                          <a:effectLst/>
                        </a:rPr>
                        <a:t>tawarkan</a:t>
                      </a:r>
                      <a:r>
                        <a:rPr lang="en-US" sz="1200" dirty="0">
                          <a:solidFill>
                            <a:srgbClr val="FFFFFF"/>
                          </a:solidFill>
                          <a:effectLst/>
                        </a:rPr>
                        <a:t>.</a:t>
                      </a:r>
                      <a:endParaRPr lang="en-ID" sz="12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FFFFFF"/>
                          </a:solidFill>
                          <a:effectLst/>
                        </a:rPr>
                        <a:t>10</a:t>
                      </a:r>
                      <a:endParaRPr lang="en-ID" sz="12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FFFFFF"/>
                          </a:solidFill>
                          <a:effectLst/>
                        </a:rPr>
                        <a:t> </a:t>
                      </a:r>
                      <a:endParaRPr lang="en-ID" sz="12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dirty="0">
                          <a:effectLst/>
                        </a:rPr>
                        <a:t> </a:t>
                      </a:r>
                      <a:endParaRPr lang="en-ID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5418026"/>
                  </a:ext>
                </a:extLst>
              </a:tr>
              <a:tr h="44365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FFFFFF"/>
                          </a:solidFill>
                          <a:effectLst/>
                        </a:rPr>
                        <a:t>2.</a:t>
                      </a:r>
                      <a:endParaRPr lang="en-ID" sz="120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FFFFFF"/>
                          </a:solidFill>
                          <a:effectLst/>
                        </a:rPr>
                        <a:t>Status dan </a:t>
                      </a:r>
                      <a:r>
                        <a:rPr lang="en-US" sz="1200" dirty="0" err="1">
                          <a:solidFill>
                            <a:srgbClr val="FFFFFF"/>
                          </a:solidFill>
                          <a:effectLst/>
                        </a:rPr>
                        <a:t>Luaran</a:t>
                      </a:r>
                      <a:r>
                        <a:rPr lang="en-US" sz="1200" dirty="0">
                          <a:solidFill>
                            <a:srgbClr val="FFFFFF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rgbClr val="FFFFFF"/>
                          </a:solidFill>
                          <a:effectLst/>
                        </a:rPr>
                        <a:t>inovasi</a:t>
                      </a:r>
                      <a:r>
                        <a:rPr lang="en-US" sz="1200" dirty="0">
                          <a:solidFill>
                            <a:srgbClr val="FFFFFF"/>
                          </a:solidFill>
                          <a:effectLst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rgbClr val="FFFFFF"/>
                          </a:solidFill>
                          <a:effectLst/>
                        </a:rPr>
                        <a:t>ditawarkan</a:t>
                      </a:r>
                      <a:r>
                        <a:rPr lang="en-US" sz="1200" dirty="0">
                          <a:solidFill>
                            <a:srgbClr val="FFFFFF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rgbClr val="FFFFFF"/>
                          </a:solidFill>
                          <a:effectLst/>
                        </a:rPr>
                        <a:t>dalam</a:t>
                      </a:r>
                      <a:r>
                        <a:rPr lang="en-US" sz="1200" dirty="0">
                          <a:solidFill>
                            <a:srgbClr val="FFFFFF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rgbClr val="FFFFFF"/>
                          </a:solidFill>
                          <a:effectLst/>
                        </a:rPr>
                        <a:t>membantu</a:t>
                      </a:r>
                      <a:r>
                        <a:rPr lang="en-US" sz="1200" dirty="0">
                          <a:solidFill>
                            <a:srgbClr val="FFFFFF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rgbClr val="FFFFFF"/>
                          </a:solidFill>
                          <a:effectLst/>
                        </a:rPr>
                        <a:t>memberikan</a:t>
                      </a:r>
                      <a:r>
                        <a:rPr lang="en-US" sz="1200" dirty="0">
                          <a:solidFill>
                            <a:srgbClr val="FFFFFF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rgbClr val="FFFFFF"/>
                          </a:solidFill>
                          <a:effectLst/>
                        </a:rPr>
                        <a:t>solusi</a:t>
                      </a:r>
                      <a:r>
                        <a:rPr lang="en-US" sz="1200" dirty="0">
                          <a:solidFill>
                            <a:srgbClr val="FFFFFF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rgbClr val="FFFFFF"/>
                          </a:solidFill>
                          <a:effectLst/>
                        </a:rPr>
                        <a:t>terhadap</a:t>
                      </a:r>
                      <a:r>
                        <a:rPr lang="en-US" sz="1200" dirty="0">
                          <a:solidFill>
                            <a:srgbClr val="FFFFFF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rgbClr val="FFFFFF"/>
                          </a:solidFill>
                          <a:effectLst/>
                        </a:rPr>
                        <a:t>permasalahan</a:t>
                      </a:r>
                      <a:r>
                        <a:rPr lang="en-US" sz="1200" dirty="0">
                          <a:solidFill>
                            <a:srgbClr val="FFFFFF"/>
                          </a:solidFill>
                          <a:effectLst/>
                        </a:rPr>
                        <a:t>.</a:t>
                      </a:r>
                      <a:endParaRPr lang="en-ID" sz="12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FFFFFF"/>
                          </a:solidFill>
                          <a:effectLst/>
                        </a:rPr>
                        <a:t>20</a:t>
                      </a:r>
                      <a:endParaRPr lang="en-ID" sz="12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FFFFFF"/>
                          </a:solidFill>
                          <a:effectLst/>
                        </a:rPr>
                        <a:t> </a:t>
                      </a:r>
                      <a:endParaRPr lang="en-ID" sz="12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dirty="0">
                          <a:effectLst/>
                        </a:rPr>
                        <a:t> </a:t>
                      </a:r>
                      <a:endParaRPr lang="en-ID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5236360"/>
                  </a:ext>
                </a:extLst>
              </a:tr>
              <a:tr h="44365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FFFFFF"/>
                          </a:solidFill>
                          <a:effectLst/>
                        </a:rPr>
                        <a:t>3.</a:t>
                      </a:r>
                      <a:endParaRPr lang="en-ID" sz="120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FFFFFF"/>
                          </a:solidFill>
                          <a:effectLst/>
                        </a:rPr>
                        <a:t>Tingkat Penerapan </a:t>
                      </a:r>
                      <a:r>
                        <a:rPr lang="en-US" sz="1200" dirty="0" err="1">
                          <a:solidFill>
                            <a:srgbClr val="FFFFFF"/>
                          </a:solidFill>
                          <a:effectLst/>
                        </a:rPr>
                        <a:t>Inovasi</a:t>
                      </a:r>
                      <a:r>
                        <a:rPr lang="en-US" sz="1200" dirty="0">
                          <a:solidFill>
                            <a:srgbClr val="FFFFFF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rgbClr val="FFFFFF"/>
                          </a:solidFill>
                          <a:effectLst/>
                        </a:rPr>
                        <a:t>dalam</a:t>
                      </a:r>
                      <a:r>
                        <a:rPr lang="en-US" sz="1200" dirty="0">
                          <a:solidFill>
                            <a:srgbClr val="FFFFFF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rgbClr val="FFFFFF"/>
                          </a:solidFill>
                          <a:effectLst/>
                        </a:rPr>
                        <a:t>membantu</a:t>
                      </a:r>
                      <a:r>
                        <a:rPr lang="en-US" sz="1200" dirty="0">
                          <a:solidFill>
                            <a:srgbClr val="FFFFFF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rgbClr val="FFFFFF"/>
                          </a:solidFill>
                          <a:effectLst/>
                        </a:rPr>
                        <a:t>melaksanakan</a:t>
                      </a:r>
                      <a:r>
                        <a:rPr lang="en-US" sz="1200" dirty="0">
                          <a:solidFill>
                            <a:srgbClr val="FFFFFF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rgbClr val="FFFFFF"/>
                          </a:solidFill>
                          <a:effectLst/>
                        </a:rPr>
                        <a:t>pekerjaan</a:t>
                      </a:r>
                      <a:endParaRPr lang="en-ID" sz="12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FFFFFF"/>
                          </a:solidFill>
                          <a:effectLst/>
                        </a:rPr>
                        <a:t>15</a:t>
                      </a:r>
                      <a:endParaRPr lang="en-ID" sz="12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FFFFFF"/>
                          </a:solidFill>
                          <a:effectLst/>
                        </a:rPr>
                        <a:t> </a:t>
                      </a:r>
                      <a:endParaRPr lang="en-ID" sz="12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dirty="0">
                          <a:effectLst/>
                        </a:rPr>
                        <a:t> </a:t>
                      </a:r>
                      <a:endParaRPr lang="en-ID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731335"/>
                  </a:ext>
                </a:extLst>
              </a:tr>
              <a:tr h="30505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FFFFFF"/>
                          </a:solidFill>
                          <a:effectLst/>
                        </a:rPr>
                        <a:t>4.</a:t>
                      </a:r>
                      <a:endParaRPr lang="en-ID" sz="120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dirty="0">
                          <a:solidFill>
                            <a:srgbClr val="FFFFFF"/>
                          </a:solidFill>
                          <a:effectLst/>
                        </a:rPr>
                        <a:t>Unjuk Kerja (Cara kerja/Sistem Kerja) Inovasi yang di terapkan</a:t>
                      </a:r>
                      <a:endParaRPr lang="en-ID" sz="12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FFFFFF"/>
                          </a:solidFill>
                          <a:effectLst/>
                        </a:rPr>
                        <a:t>15</a:t>
                      </a:r>
                      <a:endParaRPr lang="en-ID" sz="12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FFFFFF"/>
                          </a:solidFill>
                          <a:effectLst/>
                        </a:rPr>
                        <a:t> </a:t>
                      </a:r>
                      <a:endParaRPr lang="en-ID" sz="12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dirty="0">
                          <a:effectLst/>
                        </a:rPr>
                        <a:t> </a:t>
                      </a:r>
                      <a:endParaRPr lang="en-ID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7818994"/>
                  </a:ext>
                </a:extLst>
              </a:tr>
              <a:tr h="44365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FFFFFF"/>
                          </a:solidFill>
                          <a:effectLst/>
                        </a:rPr>
                        <a:t>5</a:t>
                      </a:r>
                      <a:endParaRPr lang="en-ID" sz="120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dirty="0">
                          <a:solidFill>
                            <a:srgbClr val="FFFFFF"/>
                          </a:solidFill>
                          <a:effectLst/>
                        </a:rPr>
                        <a:t>Dampak/Manfaat Inovasi terhadap Lingkungan kerja, Pemerintah</a:t>
                      </a:r>
                      <a:r>
                        <a:rPr lang="en-US" sz="1200" dirty="0">
                          <a:solidFill>
                            <a:srgbClr val="FFFFFF"/>
                          </a:solidFill>
                          <a:effectLst/>
                        </a:rPr>
                        <a:t> Daerah, </a:t>
                      </a:r>
                      <a:r>
                        <a:rPr lang="en-US" sz="1200" dirty="0" err="1">
                          <a:solidFill>
                            <a:srgbClr val="FFFFFF"/>
                          </a:solidFill>
                          <a:effectLst/>
                        </a:rPr>
                        <a:t>Pemerintah</a:t>
                      </a:r>
                      <a:r>
                        <a:rPr lang="en-US" sz="1200" dirty="0">
                          <a:solidFill>
                            <a:srgbClr val="FFFFFF"/>
                          </a:solidFill>
                          <a:effectLst/>
                        </a:rPr>
                        <a:t> Pusat, </a:t>
                      </a:r>
                      <a:r>
                        <a:rPr lang="id-ID" sz="1200" dirty="0">
                          <a:solidFill>
                            <a:srgbClr val="FFFFFF"/>
                          </a:solidFill>
                          <a:effectLst/>
                        </a:rPr>
                        <a:t> dan Masyarakat</a:t>
                      </a:r>
                      <a:r>
                        <a:rPr lang="en-US" sz="1200" dirty="0">
                          <a:solidFill>
                            <a:srgbClr val="FFFFFF"/>
                          </a:solidFill>
                          <a:effectLst/>
                        </a:rPr>
                        <a:t>.</a:t>
                      </a:r>
                      <a:endParaRPr lang="en-ID" sz="12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FFFFFF"/>
                          </a:solidFill>
                          <a:effectLst/>
                        </a:rPr>
                        <a:t>25</a:t>
                      </a:r>
                      <a:endParaRPr lang="en-ID" sz="120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FFFFFF"/>
                          </a:solidFill>
                          <a:effectLst/>
                        </a:rPr>
                        <a:t> </a:t>
                      </a:r>
                      <a:endParaRPr lang="en-ID" sz="12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dirty="0">
                          <a:effectLst/>
                        </a:rPr>
                        <a:t> </a:t>
                      </a:r>
                      <a:endParaRPr lang="en-ID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2799375"/>
                  </a:ext>
                </a:extLst>
              </a:tr>
              <a:tr h="44365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FFFFFF"/>
                          </a:solidFill>
                          <a:effectLst/>
                        </a:rPr>
                        <a:t>6.</a:t>
                      </a:r>
                      <a:endParaRPr lang="en-ID" sz="120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L="0" indent="0" algn="just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dirty="0">
                          <a:solidFill>
                            <a:srgbClr val="FFFFFF"/>
                          </a:solidFill>
                          <a:effectLst/>
                        </a:rPr>
                        <a:t>Rencana dan Strategi untuk </a:t>
                      </a:r>
                      <a:r>
                        <a:rPr lang="en-US" sz="1200" dirty="0" err="1">
                          <a:solidFill>
                            <a:srgbClr val="FFFFFF"/>
                          </a:solidFill>
                          <a:effectLst/>
                        </a:rPr>
                        <a:t>Implementasi</a:t>
                      </a:r>
                      <a:r>
                        <a:rPr lang="id-ID" sz="1200" dirty="0">
                          <a:solidFill>
                            <a:srgbClr val="FFFFFF"/>
                          </a:solidFill>
                          <a:effectLst/>
                        </a:rPr>
                        <a:t> dan Memasyarakatkan Inovasi</a:t>
                      </a:r>
                      <a:r>
                        <a:rPr lang="en-US" sz="1200" dirty="0">
                          <a:solidFill>
                            <a:srgbClr val="FFFFFF"/>
                          </a:solidFill>
                          <a:effectLst/>
                        </a:rPr>
                        <a:t> (</a:t>
                      </a:r>
                      <a:r>
                        <a:rPr lang="en-US" sz="1200" dirty="0" err="1">
                          <a:solidFill>
                            <a:srgbClr val="FFFFFF"/>
                          </a:solidFill>
                          <a:effectLst/>
                        </a:rPr>
                        <a:t>Adopsi</a:t>
                      </a:r>
                      <a:r>
                        <a:rPr lang="en-US" sz="1200" dirty="0">
                          <a:solidFill>
                            <a:srgbClr val="FFFFFF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rgbClr val="FFFFFF"/>
                          </a:solidFill>
                          <a:effectLst/>
                        </a:rPr>
                        <a:t>Inovasi</a:t>
                      </a:r>
                      <a:r>
                        <a:rPr lang="en-US" sz="1200" dirty="0">
                          <a:solidFill>
                            <a:srgbClr val="FFFFFF"/>
                          </a:solidFill>
                          <a:effectLst/>
                        </a:rPr>
                        <a:t>) yang </a:t>
                      </a:r>
                      <a:r>
                        <a:rPr lang="en-US" sz="1200" dirty="0" err="1">
                          <a:solidFill>
                            <a:srgbClr val="FFFFFF"/>
                          </a:solidFill>
                          <a:effectLst/>
                        </a:rPr>
                        <a:t>lebih</a:t>
                      </a:r>
                      <a:r>
                        <a:rPr lang="en-US" sz="1200" dirty="0">
                          <a:solidFill>
                            <a:srgbClr val="FFFFFF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rgbClr val="FFFFFF"/>
                          </a:solidFill>
                          <a:effectLst/>
                        </a:rPr>
                        <a:t>luas</a:t>
                      </a:r>
                      <a:r>
                        <a:rPr lang="en-US" sz="1200" dirty="0">
                          <a:solidFill>
                            <a:srgbClr val="FFFFFF"/>
                          </a:solidFill>
                          <a:effectLst/>
                        </a:rPr>
                        <a:t>.</a:t>
                      </a:r>
                      <a:endParaRPr lang="en-ID" sz="12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FFFFFF"/>
                          </a:solidFill>
                          <a:effectLst/>
                        </a:rPr>
                        <a:t>10</a:t>
                      </a:r>
                      <a:endParaRPr lang="en-ID" sz="120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FFFFFF"/>
                          </a:solidFill>
                          <a:effectLst/>
                        </a:rPr>
                        <a:t> </a:t>
                      </a:r>
                      <a:endParaRPr lang="en-ID" sz="12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dirty="0">
                          <a:effectLst/>
                        </a:rPr>
                        <a:t> </a:t>
                      </a:r>
                      <a:endParaRPr lang="en-ID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2445728"/>
                  </a:ext>
                </a:extLst>
              </a:tr>
              <a:tr h="44365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FFFFFF"/>
                          </a:solidFill>
                          <a:effectLst/>
                        </a:rPr>
                        <a:t>7.</a:t>
                      </a:r>
                      <a:endParaRPr lang="en-ID" sz="120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200">
                          <a:solidFill>
                            <a:srgbClr val="FFFFFF"/>
                          </a:solidFill>
                          <a:effectLst/>
                        </a:rPr>
                        <a:t>Kemampuan Presentasi dan Penguasaan terhadap substansi materi Inovasi.</a:t>
                      </a:r>
                      <a:endParaRPr lang="en-ID" sz="120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FFFFFF"/>
                          </a:solidFill>
                          <a:effectLst/>
                        </a:rPr>
                        <a:t>5</a:t>
                      </a:r>
                      <a:endParaRPr lang="en-ID" sz="120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dirty="0">
                          <a:solidFill>
                            <a:srgbClr val="FFFFFF"/>
                          </a:solidFill>
                          <a:effectLst/>
                        </a:rPr>
                        <a:t> </a:t>
                      </a:r>
                      <a:endParaRPr lang="en-ID" sz="12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dirty="0">
                          <a:effectLst/>
                        </a:rPr>
                        <a:t> </a:t>
                      </a:r>
                      <a:endParaRPr lang="en-ID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3943409"/>
                  </a:ext>
                </a:extLst>
              </a:tr>
              <a:tr h="214457">
                <a:tc gridSpan="2">
                  <a:txBody>
                    <a:bodyPr/>
                    <a:lstStyle/>
                    <a:p>
                      <a:pPr marL="20193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dirty="0">
                          <a:solidFill>
                            <a:srgbClr val="FFFFFF"/>
                          </a:solidFill>
                          <a:effectLst/>
                        </a:rPr>
                        <a:t>Jumlah</a:t>
                      </a:r>
                      <a:endParaRPr lang="en-ID" sz="12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>
                          <a:solidFill>
                            <a:srgbClr val="FFFFFF"/>
                          </a:solidFill>
                          <a:effectLst/>
                        </a:rPr>
                        <a:t>100</a:t>
                      </a:r>
                      <a:endParaRPr lang="en-ID" sz="120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dirty="0">
                          <a:solidFill>
                            <a:srgbClr val="FFFFFF"/>
                          </a:solidFill>
                          <a:effectLst/>
                        </a:rPr>
                        <a:t> </a:t>
                      </a:r>
                      <a:endParaRPr lang="en-ID" sz="12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dirty="0">
                          <a:effectLst/>
                        </a:rPr>
                        <a:t> </a:t>
                      </a:r>
                      <a:endParaRPr lang="en-ID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5844559"/>
                  </a:ext>
                </a:extLst>
              </a:tr>
            </a:tbl>
          </a:graphicData>
        </a:graphic>
      </p:graphicFrame>
      <p:sp>
        <p:nvSpPr>
          <p:cNvPr id="6" name="Rectangle 1">
            <a:extLst>
              <a:ext uri="{FF2B5EF4-FFF2-40B4-BE49-F238E27FC236}">
                <a16:creationId xmlns:a16="http://schemas.microsoft.com/office/drawing/2014/main" id="{239F56AE-74D7-40B8-AFF6-F50C9BE59ED9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557937"/>
            <a:ext cx="9143999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marL="0" marR="0" lvl="0" indent="0" algn="ctr" defTabSz="914400" rtl="0" eaLnBrk="0" fontAlgn="base" latinLnBrk="0" hangingPunct="0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tabLst/>
            </a:pP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ahoma" panose="020B0604030504040204" pitchFamily="34" charset="0"/>
                <a:ea typeface="Calibri" panose="020F0502020204030204" pitchFamily="34" charset="0"/>
                <a:cs typeface="Tahoma" panose="020B0604030504040204" pitchFamily="34" charset="0"/>
              </a:rPr>
              <a:t>1. </a:t>
            </a:r>
            <a:r>
              <a:rPr kumimoji="0" lang="en-US" altLang="en-US" b="1" i="0" u="none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ahoma" panose="020B0604030504040204" pitchFamily="34" charset="0"/>
                <a:ea typeface="Calibri" panose="020F0502020204030204" pitchFamily="34" charset="0"/>
                <a:cs typeface="Tahoma" panose="020B0604030504040204" pitchFamily="34" charset="0"/>
              </a:rPr>
              <a:t>Kategori</a:t>
            </a: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ahoma" panose="020B0604030504040204" pitchFamily="34" charset="0"/>
                <a:ea typeface="Calibri" panose="020F0502020204030204" pitchFamily="34" charset="0"/>
                <a:cs typeface="Tahoma" panose="020B0604030504040204" pitchFamily="34" charset="0"/>
              </a:rPr>
              <a:t> : </a:t>
            </a:r>
            <a:r>
              <a:rPr kumimoji="0" lang="en-US" altLang="en-US" b="1" i="0" u="none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ahoma" panose="020B0604030504040204" pitchFamily="34" charset="0"/>
                <a:ea typeface="Calibri" panose="020F0502020204030204" pitchFamily="34" charset="0"/>
                <a:cs typeface="Tahoma" panose="020B0604030504040204" pitchFamily="34" charset="0"/>
              </a:rPr>
              <a:t>Karya</a:t>
            </a: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ahoma" panose="020B0604030504040204" pitchFamily="34" charset="0"/>
                <a:ea typeface="Calibri" panose="020F0502020204030204" pitchFamily="34" charset="0"/>
                <a:cs typeface="Tahoma" panose="020B0604030504040204" pitchFamily="34" charset="0"/>
              </a:rPr>
              <a:t> </a:t>
            </a:r>
            <a:r>
              <a:rPr kumimoji="0" lang="en-US" altLang="en-US" b="1" i="0" u="none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ahoma" panose="020B0604030504040204" pitchFamily="34" charset="0"/>
                <a:ea typeface="Calibri" panose="020F0502020204030204" pitchFamily="34" charset="0"/>
                <a:cs typeface="Tahoma" panose="020B0604030504040204" pitchFamily="34" charset="0"/>
              </a:rPr>
              <a:t>Nyata</a:t>
            </a:r>
            <a:r>
              <a:rPr kumimoji="0" lang="en-US" altLang="en-US" b="1" i="0" u="none" strike="noStrike" cap="none" normalizeH="0" baseline="0" dirty="0">
                <a:ln>
                  <a:noFill/>
                </a:ln>
                <a:solidFill>
                  <a:schemeClr val="bg2"/>
                </a:solidFill>
                <a:effectLst/>
                <a:latin typeface="Tahoma" panose="020B0604030504040204" pitchFamily="34" charset="0"/>
                <a:ea typeface="Calibri" panose="020F0502020204030204" pitchFamily="34" charset="0"/>
                <a:cs typeface="Tahoma" panose="020B0604030504040204" pitchFamily="34" charset="0"/>
              </a:rPr>
              <a:t> </a:t>
            </a:r>
            <a:r>
              <a:rPr kumimoji="0" lang="en-US" altLang="en-US" b="1" i="0" u="none" strike="noStrike" cap="none" normalizeH="0" baseline="0" dirty="0" err="1">
                <a:ln>
                  <a:noFill/>
                </a:ln>
                <a:solidFill>
                  <a:schemeClr val="bg2"/>
                </a:solidFill>
                <a:effectLst/>
                <a:latin typeface="Tahoma" panose="020B0604030504040204" pitchFamily="34" charset="0"/>
                <a:ea typeface="Calibri" panose="020F0502020204030204" pitchFamily="34" charset="0"/>
                <a:cs typeface="Tahoma" panose="020B0604030504040204" pitchFamily="34" charset="0"/>
              </a:rPr>
              <a:t>Inovatif</a:t>
            </a:r>
            <a:endParaRPr kumimoji="0" lang="en-US" altLang="en-US" b="1" i="0" u="none" strike="noStrike" cap="none" normalizeH="0" baseline="0" dirty="0">
              <a:ln>
                <a:noFill/>
              </a:ln>
              <a:solidFill>
                <a:schemeClr val="bg2"/>
              </a:solidFill>
              <a:effectLst/>
              <a:latin typeface="Arial" panose="020B0604020202020204" pitchFamily="34" charset="0"/>
            </a:endParaRPr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49BBE8ED-455F-4A43-8ED8-F003DEFE693C}"/>
              </a:ext>
            </a:extLst>
          </p:cNvPr>
          <p:cNvSpPr/>
          <p:nvPr/>
        </p:nvSpPr>
        <p:spPr>
          <a:xfrm>
            <a:off x="0" y="0"/>
            <a:ext cx="9144000" cy="462050"/>
          </a:xfrm>
          <a:prstGeom prst="rect">
            <a:avLst/>
          </a:prstGeom>
          <a:solidFill>
            <a:schemeClr val="accent5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spcAft>
                <a:spcPts val="1067"/>
              </a:spcAft>
              <a:tabLst>
                <a:tab pos="120224" algn="l"/>
              </a:tabLst>
            </a:pPr>
            <a:r>
              <a:rPr lang="en-US" sz="1800" b="1" spc="-7" dirty="0">
                <a:solidFill>
                  <a:schemeClr val="bg1"/>
                </a:solidFill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RITERIA PENILAIAN PRESENTASI DAN WAWANCARA</a:t>
            </a:r>
            <a:endParaRPr lang="en-US" sz="1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776752495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47000">
              <a:srgbClr val="00B0F0"/>
            </a:gs>
            <a:gs pos="0">
              <a:schemeClr val="accent1">
                <a:lumMod val="5000"/>
                <a:lumOff val="95000"/>
              </a:schemeClr>
            </a:gs>
            <a:gs pos="65000">
              <a:schemeClr val="accent6">
                <a:lumMod val="50000"/>
                <a:lumOff val="50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89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Shape 13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3A62F3BB-F0FB-402D-A463-88C962633148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892914032"/>
              </p:ext>
            </p:extLst>
          </p:nvPr>
        </p:nvGraphicFramePr>
        <p:xfrm>
          <a:off x="277792" y="975361"/>
          <a:ext cx="8588413" cy="3854275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594765">
                  <a:extLst>
                    <a:ext uri="{9D8B030D-6E8A-4147-A177-3AD203B41FA5}">
                      <a16:colId xmlns:a16="http://schemas.microsoft.com/office/drawing/2014/main" val="2298346550"/>
                    </a:ext>
                  </a:extLst>
                </a:gridCol>
                <a:gridCol w="4372188">
                  <a:extLst>
                    <a:ext uri="{9D8B030D-6E8A-4147-A177-3AD203B41FA5}">
                      <a16:colId xmlns:a16="http://schemas.microsoft.com/office/drawing/2014/main" val="356068972"/>
                    </a:ext>
                  </a:extLst>
                </a:gridCol>
                <a:gridCol w="1248566">
                  <a:extLst>
                    <a:ext uri="{9D8B030D-6E8A-4147-A177-3AD203B41FA5}">
                      <a16:colId xmlns:a16="http://schemas.microsoft.com/office/drawing/2014/main" val="3665710967"/>
                    </a:ext>
                  </a:extLst>
                </a:gridCol>
                <a:gridCol w="1231544">
                  <a:extLst>
                    <a:ext uri="{9D8B030D-6E8A-4147-A177-3AD203B41FA5}">
                      <a16:colId xmlns:a16="http://schemas.microsoft.com/office/drawing/2014/main" val="1338832270"/>
                    </a:ext>
                  </a:extLst>
                </a:gridCol>
                <a:gridCol w="1141350">
                  <a:extLst>
                    <a:ext uri="{9D8B030D-6E8A-4147-A177-3AD203B41FA5}">
                      <a16:colId xmlns:a16="http://schemas.microsoft.com/office/drawing/2014/main" val="3606389917"/>
                    </a:ext>
                  </a:extLst>
                </a:gridCol>
              </a:tblGrid>
              <a:tr h="44365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b="1" dirty="0">
                          <a:solidFill>
                            <a:schemeClr val="bg2"/>
                          </a:solidFill>
                          <a:effectLst/>
                        </a:rPr>
                        <a:t>No</a:t>
                      </a:r>
                      <a:endParaRPr lang="en-ID" sz="1200" b="1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b="1" dirty="0">
                          <a:solidFill>
                            <a:schemeClr val="bg2"/>
                          </a:solidFill>
                          <a:effectLst/>
                        </a:rPr>
                        <a:t>Kriteria Penilaian</a:t>
                      </a:r>
                      <a:endParaRPr lang="en-ID" sz="1200" b="1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b="1" dirty="0">
                          <a:solidFill>
                            <a:schemeClr val="bg2"/>
                          </a:solidFill>
                          <a:effectLst/>
                        </a:rPr>
                        <a:t>Bobot </a:t>
                      </a:r>
                      <a:endParaRPr lang="en-ID" sz="1200" b="1" dirty="0">
                        <a:solidFill>
                          <a:schemeClr val="bg2"/>
                        </a:solidFill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b="1" dirty="0">
                          <a:solidFill>
                            <a:schemeClr val="bg2"/>
                          </a:solidFill>
                          <a:effectLst/>
                        </a:rPr>
                        <a:t>(%)</a:t>
                      </a:r>
                      <a:endParaRPr lang="en-ID" sz="1200" b="1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dirty="0" err="1">
                          <a:solidFill>
                            <a:schemeClr val="bg2"/>
                          </a:solidFill>
                          <a:effectLst/>
                        </a:rPr>
                        <a:t>Skor</a:t>
                      </a:r>
                      <a:endParaRPr lang="en-ID" sz="1200" b="1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b="1" dirty="0">
                          <a:solidFill>
                            <a:schemeClr val="bg2"/>
                          </a:solidFill>
                          <a:effectLst/>
                        </a:rPr>
                        <a:t>Nilai </a:t>
                      </a:r>
                      <a:endParaRPr lang="en-ID" sz="1200" b="1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1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41247"/>
                  </a:ext>
                </a:extLst>
              </a:tr>
              <a:tr h="67285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rgbClr val="FFFFFF"/>
                          </a:solidFill>
                          <a:effectLst/>
                        </a:rPr>
                        <a:t>1.</a:t>
                      </a:r>
                      <a:endParaRPr lang="en-ID" sz="13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 err="1">
                          <a:solidFill>
                            <a:srgbClr val="FFFFFF"/>
                          </a:solidFill>
                          <a:effectLst/>
                        </a:rPr>
                        <a:t>Penguasaan</a:t>
                      </a:r>
                      <a:r>
                        <a:rPr lang="en-US" sz="1300" dirty="0">
                          <a:solidFill>
                            <a:srgbClr val="FFFFFF"/>
                          </a:solidFill>
                          <a:effectLst/>
                        </a:rPr>
                        <a:t> </a:t>
                      </a:r>
                      <a:r>
                        <a:rPr lang="en-US" sz="1300" dirty="0" err="1">
                          <a:solidFill>
                            <a:srgbClr val="FFFFFF"/>
                          </a:solidFill>
                          <a:effectLst/>
                        </a:rPr>
                        <a:t>terhadap</a:t>
                      </a:r>
                      <a:r>
                        <a:rPr lang="en-US" sz="1300" dirty="0">
                          <a:solidFill>
                            <a:srgbClr val="FFFFFF"/>
                          </a:solidFill>
                          <a:effectLst/>
                        </a:rPr>
                        <a:t> </a:t>
                      </a:r>
                      <a:r>
                        <a:rPr lang="en-US" sz="1300" dirty="0" err="1">
                          <a:solidFill>
                            <a:srgbClr val="FFFFFF"/>
                          </a:solidFill>
                          <a:effectLst/>
                        </a:rPr>
                        <a:t>Permasalahan</a:t>
                      </a:r>
                      <a:r>
                        <a:rPr lang="en-US" sz="1300" dirty="0">
                          <a:solidFill>
                            <a:srgbClr val="FFFFFF"/>
                          </a:solidFill>
                          <a:effectLst/>
                        </a:rPr>
                        <a:t> (</a:t>
                      </a:r>
                      <a:r>
                        <a:rPr lang="en-US" sz="1300" dirty="0" err="1">
                          <a:solidFill>
                            <a:srgbClr val="FFFFFF"/>
                          </a:solidFill>
                          <a:effectLst/>
                        </a:rPr>
                        <a:t>Analisisis</a:t>
                      </a:r>
                      <a:r>
                        <a:rPr lang="en-US" sz="1300" dirty="0">
                          <a:solidFill>
                            <a:srgbClr val="FFFFFF"/>
                          </a:solidFill>
                          <a:effectLst/>
                        </a:rPr>
                        <a:t> </a:t>
                      </a:r>
                      <a:r>
                        <a:rPr lang="en-US" sz="1300" dirty="0" err="1">
                          <a:solidFill>
                            <a:srgbClr val="FFFFFF"/>
                          </a:solidFill>
                          <a:effectLst/>
                        </a:rPr>
                        <a:t>Situasi</a:t>
                      </a:r>
                      <a:r>
                        <a:rPr lang="en-US" sz="1300" dirty="0">
                          <a:solidFill>
                            <a:srgbClr val="FFFFFF"/>
                          </a:solidFill>
                          <a:effectLst/>
                        </a:rPr>
                        <a:t>) </a:t>
                      </a:r>
                      <a:r>
                        <a:rPr lang="en-US" sz="1300" dirty="0" err="1">
                          <a:solidFill>
                            <a:srgbClr val="FFFFFF"/>
                          </a:solidFill>
                          <a:effectLst/>
                        </a:rPr>
                        <a:t>dalam</a:t>
                      </a:r>
                      <a:r>
                        <a:rPr lang="en-US" sz="1300" dirty="0">
                          <a:solidFill>
                            <a:srgbClr val="FFFFFF"/>
                          </a:solidFill>
                          <a:effectLst/>
                        </a:rPr>
                        <a:t> </a:t>
                      </a:r>
                      <a:r>
                        <a:rPr lang="en-US" sz="1300" dirty="0" err="1">
                          <a:solidFill>
                            <a:srgbClr val="FFFFFF"/>
                          </a:solidFill>
                          <a:effectLst/>
                        </a:rPr>
                        <a:t>melaksanakan</a:t>
                      </a:r>
                      <a:r>
                        <a:rPr lang="en-US" sz="1300" dirty="0">
                          <a:solidFill>
                            <a:srgbClr val="FFFFFF"/>
                          </a:solidFill>
                          <a:effectLst/>
                        </a:rPr>
                        <a:t> </a:t>
                      </a:r>
                      <a:r>
                        <a:rPr lang="en-US" sz="1300" dirty="0" err="1">
                          <a:solidFill>
                            <a:srgbClr val="FFFFFF"/>
                          </a:solidFill>
                          <a:effectLst/>
                        </a:rPr>
                        <a:t>pekerjaan</a:t>
                      </a:r>
                      <a:r>
                        <a:rPr lang="en-US" sz="1300" dirty="0">
                          <a:solidFill>
                            <a:srgbClr val="FFFFFF"/>
                          </a:solidFill>
                          <a:effectLst/>
                        </a:rPr>
                        <a:t> </a:t>
                      </a:r>
                      <a:endParaRPr lang="en-ID" sz="13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rgbClr val="FFFFFF"/>
                          </a:solidFill>
                          <a:effectLst/>
                        </a:rPr>
                        <a:t>10</a:t>
                      </a:r>
                      <a:endParaRPr lang="en-ID" sz="13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rgbClr val="FFFFFF"/>
                          </a:solidFill>
                          <a:effectLst/>
                        </a:rPr>
                        <a:t> </a:t>
                      </a:r>
                      <a:endParaRPr lang="en-ID" sz="13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dirty="0">
                          <a:effectLst/>
                        </a:rPr>
                        <a:t> </a:t>
                      </a:r>
                      <a:endParaRPr lang="en-ID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5418026"/>
                  </a:ext>
                </a:extLst>
              </a:tr>
              <a:tr h="44365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rgbClr val="FFFFFF"/>
                          </a:solidFill>
                          <a:effectLst/>
                        </a:rPr>
                        <a:t>2.</a:t>
                      </a:r>
                      <a:endParaRPr lang="en-ID" sz="130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300" dirty="0">
                          <a:solidFill>
                            <a:srgbClr val="FFFFFF"/>
                          </a:solidFill>
                          <a:effectLst/>
                        </a:rPr>
                        <a:t>Penciptaan Nilai Tambah</a:t>
                      </a:r>
                      <a:endParaRPr lang="en-ID" sz="13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rgbClr val="FFFFFF"/>
                          </a:solidFill>
                          <a:effectLst/>
                        </a:rPr>
                        <a:t>20</a:t>
                      </a:r>
                      <a:endParaRPr lang="en-ID" sz="13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rgbClr val="FFFFFF"/>
                          </a:solidFill>
                          <a:effectLst/>
                        </a:rPr>
                        <a:t> </a:t>
                      </a:r>
                      <a:endParaRPr lang="en-ID" sz="13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dirty="0">
                          <a:effectLst/>
                        </a:rPr>
                        <a:t> </a:t>
                      </a:r>
                      <a:endParaRPr lang="en-ID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5236360"/>
                  </a:ext>
                </a:extLst>
              </a:tr>
              <a:tr h="44365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rgbClr val="FFFFFF"/>
                          </a:solidFill>
                          <a:effectLst/>
                        </a:rPr>
                        <a:t>3.</a:t>
                      </a:r>
                      <a:endParaRPr lang="en-ID" sz="130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300" dirty="0">
                          <a:solidFill>
                            <a:srgbClr val="FFFFFF"/>
                          </a:solidFill>
                          <a:effectLst/>
                        </a:rPr>
                        <a:t>Kesinambungan dan Konsistensi</a:t>
                      </a:r>
                      <a:endParaRPr lang="en-ID" sz="13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rgbClr val="FFFFFF"/>
                          </a:solidFill>
                          <a:effectLst/>
                        </a:rPr>
                        <a:t>15</a:t>
                      </a:r>
                      <a:endParaRPr lang="en-ID" sz="13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rgbClr val="FFFFFF"/>
                          </a:solidFill>
                          <a:effectLst/>
                        </a:rPr>
                        <a:t> </a:t>
                      </a:r>
                      <a:endParaRPr lang="en-ID" sz="13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dirty="0">
                          <a:effectLst/>
                        </a:rPr>
                        <a:t> </a:t>
                      </a:r>
                      <a:endParaRPr lang="en-ID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731335"/>
                  </a:ext>
                </a:extLst>
              </a:tr>
              <a:tr h="30505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rgbClr val="FFFFFF"/>
                          </a:solidFill>
                          <a:effectLst/>
                        </a:rPr>
                        <a:t>4.</a:t>
                      </a:r>
                      <a:endParaRPr lang="en-ID" sz="130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300" dirty="0">
                          <a:solidFill>
                            <a:srgbClr val="FFFFFF"/>
                          </a:solidFill>
                          <a:effectLst/>
                        </a:rPr>
                        <a:t>Kepeloporan dan daya Inspirasi</a:t>
                      </a:r>
                      <a:endParaRPr lang="en-ID" sz="13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rgbClr val="FFFFFF"/>
                          </a:solidFill>
                          <a:effectLst/>
                        </a:rPr>
                        <a:t>30</a:t>
                      </a:r>
                      <a:endParaRPr lang="en-ID" sz="13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rgbClr val="FFFFFF"/>
                          </a:solidFill>
                          <a:effectLst/>
                        </a:rPr>
                        <a:t> </a:t>
                      </a:r>
                      <a:endParaRPr lang="en-ID" sz="13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dirty="0">
                          <a:effectLst/>
                        </a:rPr>
                        <a:t> </a:t>
                      </a:r>
                      <a:endParaRPr lang="en-ID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7818994"/>
                  </a:ext>
                </a:extLst>
              </a:tr>
              <a:tr h="44365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rgbClr val="FFFFFF"/>
                          </a:solidFill>
                          <a:effectLst/>
                        </a:rPr>
                        <a:t>5</a:t>
                      </a:r>
                      <a:endParaRPr lang="en-ID" sz="130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300" dirty="0">
                          <a:solidFill>
                            <a:srgbClr val="FFFFFF"/>
                          </a:solidFill>
                          <a:effectLst/>
                        </a:rPr>
                        <a:t>Pengembangan Budaya dan Nilai-nilai Kebangsaan  </a:t>
                      </a:r>
                      <a:endParaRPr lang="en-ID" sz="13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rgbClr val="FFFFFF"/>
                          </a:solidFill>
                          <a:effectLst/>
                        </a:rPr>
                        <a:t>10</a:t>
                      </a:r>
                      <a:endParaRPr lang="en-ID" sz="13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rgbClr val="FFFFFF"/>
                          </a:solidFill>
                          <a:effectLst/>
                        </a:rPr>
                        <a:t> </a:t>
                      </a:r>
                      <a:endParaRPr lang="en-ID" sz="13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dirty="0">
                          <a:effectLst/>
                        </a:rPr>
                        <a:t> </a:t>
                      </a:r>
                      <a:endParaRPr lang="en-ID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2799375"/>
                  </a:ext>
                </a:extLst>
              </a:tr>
              <a:tr h="44365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rgbClr val="FFFFFF"/>
                          </a:solidFill>
                          <a:effectLst/>
                        </a:rPr>
                        <a:t>6.</a:t>
                      </a:r>
                      <a:endParaRPr lang="en-ID" sz="130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300" dirty="0">
                          <a:solidFill>
                            <a:srgbClr val="FFFFFF"/>
                          </a:solidFill>
                          <a:effectLst/>
                        </a:rPr>
                        <a:t>Rencana dan Strategi untuk </a:t>
                      </a:r>
                      <a:r>
                        <a:rPr lang="en-US" sz="1300" dirty="0" err="1">
                          <a:solidFill>
                            <a:srgbClr val="FFFFFF"/>
                          </a:solidFill>
                          <a:effectLst/>
                        </a:rPr>
                        <a:t>Implementasi</a:t>
                      </a:r>
                      <a:r>
                        <a:rPr lang="en-US" sz="1300" dirty="0">
                          <a:solidFill>
                            <a:srgbClr val="FFFFFF"/>
                          </a:solidFill>
                          <a:effectLst/>
                        </a:rPr>
                        <a:t> </a:t>
                      </a:r>
                      <a:r>
                        <a:rPr lang="id-ID" sz="1300" dirty="0">
                          <a:solidFill>
                            <a:srgbClr val="FFFFFF"/>
                          </a:solidFill>
                          <a:effectLst/>
                        </a:rPr>
                        <a:t>dan Memasyarakatkan </a:t>
                      </a:r>
                      <a:r>
                        <a:rPr lang="en-US" sz="1300" dirty="0" err="1">
                          <a:solidFill>
                            <a:srgbClr val="FFFFFF"/>
                          </a:solidFill>
                          <a:effectLst/>
                        </a:rPr>
                        <a:t>karya</a:t>
                      </a:r>
                      <a:r>
                        <a:rPr lang="en-US" sz="1300" dirty="0">
                          <a:solidFill>
                            <a:srgbClr val="FFFFFF"/>
                          </a:solidFill>
                          <a:effectLst/>
                        </a:rPr>
                        <a:t> </a:t>
                      </a:r>
                      <a:r>
                        <a:rPr lang="en-US" sz="1300" dirty="0" err="1">
                          <a:solidFill>
                            <a:srgbClr val="FFFFFF"/>
                          </a:solidFill>
                          <a:effectLst/>
                        </a:rPr>
                        <a:t>Inspiratif</a:t>
                      </a:r>
                      <a:endParaRPr lang="en-ID" sz="13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rgbClr val="FFFFFF"/>
                          </a:solidFill>
                          <a:effectLst/>
                        </a:rPr>
                        <a:t>10</a:t>
                      </a:r>
                      <a:endParaRPr lang="en-ID" sz="13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rgbClr val="FFFFFF"/>
                          </a:solidFill>
                          <a:effectLst/>
                        </a:rPr>
                        <a:t> </a:t>
                      </a:r>
                      <a:endParaRPr lang="en-ID" sz="13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dirty="0">
                          <a:effectLst/>
                        </a:rPr>
                        <a:t> </a:t>
                      </a:r>
                      <a:endParaRPr lang="en-ID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142445728"/>
                  </a:ext>
                </a:extLst>
              </a:tr>
              <a:tr h="44365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rgbClr val="FFFFFF"/>
                          </a:solidFill>
                          <a:effectLst/>
                        </a:rPr>
                        <a:t>7.</a:t>
                      </a:r>
                      <a:endParaRPr lang="en-ID" sz="130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300" dirty="0">
                          <a:solidFill>
                            <a:srgbClr val="FFFFFF"/>
                          </a:solidFill>
                          <a:effectLst/>
                        </a:rPr>
                        <a:t>Kemampuan Presentasi dan Penguasaan terhadap substansi materi </a:t>
                      </a:r>
                      <a:endParaRPr lang="en-ID" sz="13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rgbClr val="FFFFFF"/>
                          </a:solidFill>
                          <a:effectLst/>
                        </a:rPr>
                        <a:t>5</a:t>
                      </a:r>
                      <a:endParaRPr lang="en-ID" sz="13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rgbClr val="FFFFFF"/>
                          </a:solidFill>
                          <a:effectLst/>
                        </a:rPr>
                        <a:t> </a:t>
                      </a:r>
                      <a:endParaRPr lang="en-ID" sz="13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dirty="0">
                          <a:effectLst/>
                        </a:rPr>
                        <a:t> </a:t>
                      </a:r>
                      <a:endParaRPr lang="en-ID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03943409"/>
                  </a:ext>
                </a:extLst>
              </a:tr>
              <a:tr h="214457">
                <a:tc gridSpan="2">
                  <a:txBody>
                    <a:bodyPr/>
                    <a:lstStyle/>
                    <a:p>
                      <a:pPr marL="20193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300" dirty="0">
                          <a:solidFill>
                            <a:srgbClr val="FFFFFF"/>
                          </a:solidFill>
                          <a:effectLst/>
                        </a:rPr>
                        <a:t>Jumlah</a:t>
                      </a:r>
                      <a:endParaRPr lang="en-ID" sz="13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rgbClr val="FFFFFF"/>
                          </a:solidFill>
                          <a:effectLst/>
                        </a:rPr>
                        <a:t>100</a:t>
                      </a:r>
                      <a:endParaRPr lang="en-ID" sz="130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300" dirty="0">
                          <a:solidFill>
                            <a:srgbClr val="FFFFFF"/>
                          </a:solidFill>
                          <a:effectLst/>
                        </a:rPr>
                        <a:t> </a:t>
                      </a:r>
                      <a:endParaRPr lang="en-ID" sz="13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dirty="0">
                          <a:effectLst/>
                        </a:rPr>
                        <a:t> </a:t>
                      </a:r>
                      <a:endParaRPr lang="en-ID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5844559"/>
                  </a:ext>
                </a:extLst>
              </a:tr>
            </a:tbl>
          </a:graphicData>
        </a:graphic>
      </p:graphicFrame>
      <p:sp>
        <p:nvSpPr>
          <p:cNvPr id="3" name="Rectangle 1">
            <a:extLst>
              <a:ext uri="{FF2B5EF4-FFF2-40B4-BE49-F238E27FC236}">
                <a16:creationId xmlns:a16="http://schemas.microsoft.com/office/drawing/2014/main" id="{7B16A812-0DFF-4FE4-BC41-6005568296F2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557937"/>
            <a:ext cx="9143999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b="1" dirty="0">
                <a:solidFill>
                  <a:schemeClr val="bg1"/>
                </a:solidFill>
                <a:latin typeface="Tahoma" panose="020B0604030504040204" pitchFamily="34" charset="0"/>
                <a:ea typeface="Calibri" panose="020F0502020204030204" pitchFamily="34" charset="0"/>
                <a:cs typeface="Tahoma" panose="020B0604030504040204" pitchFamily="34" charset="0"/>
              </a:rPr>
              <a:t>2. </a:t>
            </a:r>
            <a:r>
              <a:rPr lang="en-US" altLang="en-US" b="1" dirty="0" err="1">
                <a:solidFill>
                  <a:schemeClr val="bg1"/>
                </a:solidFill>
                <a:latin typeface="Tahoma" panose="020B0604030504040204" pitchFamily="34" charset="0"/>
                <a:ea typeface="Calibri" panose="020F0502020204030204" pitchFamily="34" charset="0"/>
                <a:cs typeface="Tahoma" panose="020B0604030504040204" pitchFamily="34" charset="0"/>
              </a:rPr>
              <a:t>Kategori</a:t>
            </a:r>
            <a:r>
              <a:rPr lang="en-US" altLang="en-US" b="1" dirty="0">
                <a:solidFill>
                  <a:schemeClr val="bg1"/>
                </a:solidFill>
                <a:latin typeface="Tahoma" panose="020B0604030504040204" pitchFamily="34" charset="0"/>
                <a:ea typeface="Calibri" panose="020F0502020204030204" pitchFamily="34" charset="0"/>
                <a:cs typeface="Tahoma" panose="020B0604030504040204" pitchFamily="34" charset="0"/>
              </a:rPr>
              <a:t> : </a:t>
            </a:r>
            <a:r>
              <a:rPr lang="en-US" altLang="en-US" b="1" dirty="0" err="1">
                <a:solidFill>
                  <a:schemeClr val="bg1"/>
                </a:solidFill>
                <a:latin typeface="Tahoma" panose="020B0604030504040204" pitchFamily="34" charset="0"/>
                <a:ea typeface="Calibri" panose="020F0502020204030204" pitchFamily="34" charset="0"/>
                <a:cs typeface="Tahoma" panose="020B0604030504040204" pitchFamily="34" charset="0"/>
              </a:rPr>
              <a:t>Karya</a:t>
            </a:r>
            <a:r>
              <a:rPr lang="en-US" altLang="en-US" b="1" dirty="0">
                <a:solidFill>
                  <a:schemeClr val="bg1"/>
                </a:solidFill>
                <a:latin typeface="Tahoma" panose="020B0604030504040204" pitchFamily="34" charset="0"/>
                <a:ea typeface="Calibri" panose="020F0502020204030204" pitchFamily="34" charset="0"/>
                <a:cs typeface="Tahoma" panose="020B0604030504040204" pitchFamily="34" charset="0"/>
              </a:rPr>
              <a:t> </a:t>
            </a:r>
            <a:r>
              <a:rPr lang="en-US" altLang="en-US" b="1" dirty="0" err="1">
                <a:solidFill>
                  <a:schemeClr val="bg1"/>
                </a:solidFill>
                <a:latin typeface="Tahoma" panose="020B0604030504040204" pitchFamily="34" charset="0"/>
                <a:ea typeface="Calibri" panose="020F0502020204030204" pitchFamily="34" charset="0"/>
                <a:cs typeface="Tahoma" panose="020B0604030504040204" pitchFamily="34" charset="0"/>
              </a:rPr>
              <a:t>Nyata</a:t>
            </a:r>
            <a:r>
              <a:rPr lang="en-US" altLang="en-US" b="1" dirty="0">
                <a:solidFill>
                  <a:schemeClr val="bg1"/>
                </a:solidFill>
                <a:latin typeface="Tahoma" panose="020B0604030504040204" pitchFamily="34" charset="0"/>
                <a:ea typeface="Calibri" panose="020F0502020204030204" pitchFamily="34" charset="0"/>
                <a:cs typeface="Tahoma" panose="020B0604030504040204" pitchFamily="34" charset="0"/>
              </a:rPr>
              <a:t> </a:t>
            </a:r>
            <a:r>
              <a:rPr lang="en-US" altLang="en-US" b="1" dirty="0" err="1">
                <a:solidFill>
                  <a:schemeClr val="bg1"/>
                </a:solidFill>
                <a:latin typeface="Tahoma" panose="020B0604030504040204" pitchFamily="34" charset="0"/>
                <a:ea typeface="Calibri" panose="020F0502020204030204" pitchFamily="34" charset="0"/>
                <a:cs typeface="Tahoma" panose="020B0604030504040204" pitchFamily="34" charset="0"/>
              </a:rPr>
              <a:t>Inspiratif</a:t>
            </a:r>
            <a:endParaRPr lang="en-US" altLang="en-US" b="1" dirty="0">
              <a:solidFill>
                <a:schemeClr val="bg1"/>
              </a:solidFill>
              <a:latin typeface="Tahoma" panose="020B0604030504040204" pitchFamily="34" charset="0"/>
              <a:ea typeface="Calibri" panose="020F0502020204030204" pitchFamily="34" charset="0"/>
              <a:cs typeface="Tahoma" panose="020B0604030504040204" pitchFamily="34" charset="0"/>
            </a:endParaRP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8785C93B-A6E0-4B9B-A7B4-0F81E540A6C7}"/>
              </a:ext>
            </a:extLst>
          </p:cNvPr>
          <p:cNvSpPr/>
          <p:nvPr/>
        </p:nvSpPr>
        <p:spPr>
          <a:xfrm>
            <a:off x="1" y="10924"/>
            <a:ext cx="9144000" cy="462050"/>
          </a:xfrm>
          <a:prstGeom prst="rect">
            <a:avLst/>
          </a:prstGeom>
          <a:solidFill>
            <a:schemeClr val="accent5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spcAft>
                <a:spcPts val="1067"/>
              </a:spcAft>
              <a:tabLst>
                <a:tab pos="120224" algn="l"/>
              </a:tabLst>
            </a:pPr>
            <a:r>
              <a:rPr lang="en-US" sz="1800" b="1" spc="-7" dirty="0">
                <a:solidFill>
                  <a:schemeClr val="bg1"/>
                </a:solidFill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RITERIA PENILAIAN PRESENTASI DAN WAWANCARA</a:t>
            </a:r>
            <a:endParaRPr lang="en-US" sz="1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152722593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47000">
              <a:srgbClr val="00B0F0"/>
            </a:gs>
            <a:gs pos="0">
              <a:schemeClr val="accent1">
                <a:lumMod val="5000"/>
                <a:lumOff val="95000"/>
              </a:schemeClr>
            </a:gs>
            <a:gs pos="65000">
              <a:schemeClr val="accent6">
                <a:lumMod val="50000"/>
                <a:lumOff val="50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89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Shape 1398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able 1">
            <a:extLst>
              <a:ext uri="{FF2B5EF4-FFF2-40B4-BE49-F238E27FC236}">
                <a16:creationId xmlns:a16="http://schemas.microsoft.com/office/drawing/2014/main" id="{8F0E7600-110E-4DF6-B63E-BBDBBFBE8DD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144169812"/>
              </p:ext>
            </p:extLst>
          </p:nvPr>
        </p:nvGraphicFramePr>
        <p:xfrm>
          <a:off x="277792" y="975361"/>
          <a:ext cx="8588413" cy="3168100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594765">
                  <a:extLst>
                    <a:ext uri="{9D8B030D-6E8A-4147-A177-3AD203B41FA5}">
                      <a16:colId xmlns:a16="http://schemas.microsoft.com/office/drawing/2014/main" val="2298346550"/>
                    </a:ext>
                  </a:extLst>
                </a:gridCol>
                <a:gridCol w="4372188">
                  <a:extLst>
                    <a:ext uri="{9D8B030D-6E8A-4147-A177-3AD203B41FA5}">
                      <a16:colId xmlns:a16="http://schemas.microsoft.com/office/drawing/2014/main" val="356068972"/>
                    </a:ext>
                  </a:extLst>
                </a:gridCol>
                <a:gridCol w="1248566">
                  <a:extLst>
                    <a:ext uri="{9D8B030D-6E8A-4147-A177-3AD203B41FA5}">
                      <a16:colId xmlns:a16="http://schemas.microsoft.com/office/drawing/2014/main" val="3665710967"/>
                    </a:ext>
                  </a:extLst>
                </a:gridCol>
                <a:gridCol w="1231544">
                  <a:extLst>
                    <a:ext uri="{9D8B030D-6E8A-4147-A177-3AD203B41FA5}">
                      <a16:colId xmlns:a16="http://schemas.microsoft.com/office/drawing/2014/main" val="1338832270"/>
                    </a:ext>
                  </a:extLst>
                </a:gridCol>
                <a:gridCol w="1141350">
                  <a:extLst>
                    <a:ext uri="{9D8B030D-6E8A-4147-A177-3AD203B41FA5}">
                      <a16:colId xmlns:a16="http://schemas.microsoft.com/office/drawing/2014/main" val="3606389917"/>
                    </a:ext>
                  </a:extLst>
                </a:gridCol>
              </a:tblGrid>
              <a:tr h="44365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b="1" dirty="0">
                          <a:solidFill>
                            <a:schemeClr val="bg2"/>
                          </a:solidFill>
                          <a:effectLst/>
                        </a:rPr>
                        <a:t>No</a:t>
                      </a:r>
                      <a:endParaRPr lang="en-ID" sz="1200" b="1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b="1" dirty="0">
                          <a:solidFill>
                            <a:schemeClr val="bg2"/>
                          </a:solidFill>
                          <a:effectLst/>
                        </a:rPr>
                        <a:t>Kriteria Penilaian</a:t>
                      </a:r>
                      <a:endParaRPr lang="en-ID" sz="1200" b="1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b="1" dirty="0">
                          <a:solidFill>
                            <a:schemeClr val="bg2"/>
                          </a:solidFill>
                          <a:effectLst/>
                        </a:rPr>
                        <a:t>Bobot </a:t>
                      </a:r>
                      <a:endParaRPr lang="en-ID" sz="1200" b="1" dirty="0">
                        <a:solidFill>
                          <a:schemeClr val="bg2"/>
                        </a:solidFill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b="1" dirty="0">
                          <a:solidFill>
                            <a:schemeClr val="bg2"/>
                          </a:solidFill>
                          <a:effectLst/>
                        </a:rPr>
                        <a:t>(%)</a:t>
                      </a:r>
                      <a:endParaRPr lang="en-ID" sz="1200" b="1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200" b="1" dirty="0" err="1">
                          <a:solidFill>
                            <a:schemeClr val="bg2"/>
                          </a:solidFill>
                          <a:effectLst/>
                        </a:rPr>
                        <a:t>Skor</a:t>
                      </a:r>
                      <a:endParaRPr lang="en-ID" sz="1200" b="1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b="1" dirty="0">
                          <a:solidFill>
                            <a:schemeClr val="bg2"/>
                          </a:solidFill>
                          <a:effectLst/>
                        </a:rPr>
                        <a:t>Nilai </a:t>
                      </a:r>
                      <a:endParaRPr lang="en-ID" sz="1200" b="1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 anchor="ctr">
                    <a:solidFill>
                      <a:schemeClr val="accent5">
                        <a:lumMod val="40000"/>
                        <a:lumOff val="6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1941247"/>
                  </a:ext>
                </a:extLst>
              </a:tr>
              <a:tr h="67285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endParaRPr lang="en-US" sz="1300" dirty="0">
                        <a:solidFill>
                          <a:srgbClr val="FFFFFF"/>
                        </a:solidFill>
                        <a:effectLst/>
                      </a:endParaRPr>
                    </a:p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rgbClr val="FFFFFF"/>
                          </a:solidFill>
                          <a:effectLst/>
                        </a:rPr>
                        <a:t>1.</a:t>
                      </a:r>
                      <a:endParaRPr lang="en-ID" sz="13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rgbClr val="FFFFFF"/>
                          </a:solidFill>
                          <a:effectLst/>
                        </a:rPr>
                        <a:t>Penguasaan</a:t>
                      </a:r>
                      <a:r>
                        <a:rPr lang="en-US" sz="1400" dirty="0">
                          <a:solidFill>
                            <a:srgbClr val="FFFFFF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rgbClr val="FFFFFF"/>
                          </a:solidFill>
                          <a:effectLst/>
                        </a:rPr>
                        <a:t>terhadap</a:t>
                      </a:r>
                      <a:r>
                        <a:rPr lang="en-US" sz="1400" dirty="0">
                          <a:solidFill>
                            <a:srgbClr val="FFFFFF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rgbClr val="FFFFFF"/>
                          </a:solidFill>
                          <a:effectLst/>
                        </a:rPr>
                        <a:t>permasalahan</a:t>
                      </a:r>
                      <a:r>
                        <a:rPr lang="en-US" sz="1400" dirty="0">
                          <a:solidFill>
                            <a:srgbClr val="FFFFFF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rgbClr val="FFFFFF"/>
                          </a:solidFill>
                          <a:effectLst/>
                        </a:rPr>
                        <a:t>kepemimpinan</a:t>
                      </a:r>
                      <a:r>
                        <a:rPr lang="en-US" sz="1400" dirty="0">
                          <a:solidFill>
                            <a:srgbClr val="FFFFFF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rgbClr val="FFFFFF"/>
                          </a:solidFill>
                          <a:effectLst/>
                        </a:rPr>
                        <a:t>saat</a:t>
                      </a:r>
                      <a:r>
                        <a:rPr lang="en-US" sz="1400" dirty="0">
                          <a:solidFill>
                            <a:srgbClr val="FFFFFF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rgbClr val="FFFFFF"/>
                          </a:solidFill>
                          <a:effectLst/>
                        </a:rPr>
                        <a:t>ini</a:t>
                      </a:r>
                      <a:r>
                        <a:rPr lang="en-US" sz="1400" dirty="0">
                          <a:solidFill>
                            <a:srgbClr val="FFFFFF"/>
                          </a:solidFill>
                          <a:effectLst/>
                        </a:rPr>
                        <a:t> dan </a:t>
                      </a:r>
                      <a:r>
                        <a:rPr lang="en-US" sz="1400" dirty="0" err="1">
                          <a:solidFill>
                            <a:srgbClr val="FFFFFF"/>
                          </a:solidFill>
                          <a:effectLst/>
                        </a:rPr>
                        <a:t>kepemimpinan</a:t>
                      </a:r>
                      <a:r>
                        <a:rPr lang="en-US" sz="1400" dirty="0">
                          <a:solidFill>
                            <a:srgbClr val="FFFFFF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rgbClr val="FFFFFF"/>
                          </a:solidFill>
                          <a:effectLst/>
                        </a:rPr>
                        <a:t>ke</a:t>
                      </a:r>
                      <a:r>
                        <a:rPr lang="en-US" sz="1400" dirty="0">
                          <a:solidFill>
                            <a:srgbClr val="FFFFFF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rgbClr val="FFFFFF"/>
                          </a:solidFill>
                          <a:effectLst/>
                        </a:rPr>
                        <a:t>depan</a:t>
                      </a:r>
                      <a:r>
                        <a:rPr lang="en-US" sz="1400" dirty="0">
                          <a:solidFill>
                            <a:srgbClr val="FFFFFF"/>
                          </a:solidFill>
                          <a:effectLst/>
                        </a:rPr>
                        <a:t> </a:t>
                      </a:r>
                      <a:endParaRPr lang="en-ID" sz="14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FFFFFF"/>
                          </a:solidFill>
                          <a:effectLst/>
                        </a:rPr>
                        <a:t>15</a:t>
                      </a:r>
                      <a:endParaRPr lang="en-ID" sz="14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rgbClr val="FFFFFF"/>
                          </a:solidFill>
                          <a:effectLst/>
                        </a:rPr>
                        <a:t> </a:t>
                      </a:r>
                      <a:endParaRPr lang="en-ID" sz="13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dirty="0">
                          <a:effectLst/>
                        </a:rPr>
                        <a:t> </a:t>
                      </a:r>
                      <a:endParaRPr lang="en-ID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5418026"/>
                  </a:ext>
                </a:extLst>
              </a:tr>
              <a:tr h="44365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rgbClr val="FFFFFF"/>
                          </a:solidFill>
                          <a:effectLst/>
                        </a:rPr>
                        <a:t>2.</a:t>
                      </a:r>
                      <a:endParaRPr lang="en-ID" sz="130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400" dirty="0">
                          <a:solidFill>
                            <a:srgbClr val="FFFFFF"/>
                          </a:solidFill>
                          <a:effectLst/>
                        </a:rPr>
                        <a:t>K</a:t>
                      </a:r>
                      <a:r>
                        <a:rPr lang="en-US" sz="1400" dirty="0" err="1">
                          <a:solidFill>
                            <a:srgbClr val="FFFFFF"/>
                          </a:solidFill>
                          <a:effectLst/>
                        </a:rPr>
                        <a:t>emampuan</a:t>
                      </a:r>
                      <a:r>
                        <a:rPr lang="en-US" sz="1400" dirty="0">
                          <a:solidFill>
                            <a:srgbClr val="FFFFFF"/>
                          </a:solidFill>
                          <a:effectLst/>
                        </a:rPr>
                        <a:t> </a:t>
                      </a:r>
                      <a:r>
                        <a:rPr lang="id-ID" sz="1400" dirty="0">
                          <a:solidFill>
                            <a:srgbClr val="FFFFFF"/>
                          </a:solidFill>
                          <a:effectLst/>
                        </a:rPr>
                        <a:t>Manajerial</a:t>
                      </a:r>
                      <a:endParaRPr lang="en-ID" sz="14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>
                          <a:solidFill>
                            <a:srgbClr val="FFFFFF"/>
                          </a:solidFill>
                          <a:effectLst/>
                        </a:rPr>
                        <a:t>25</a:t>
                      </a:r>
                      <a:endParaRPr lang="en-ID" sz="14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rgbClr val="FFFFFF"/>
                          </a:solidFill>
                          <a:effectLst/>
                        </a:rPr>
                        <a:t> </a:t>
                      </a:r>
                      <a:endParaRPr lang="en-ID" sz="13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dirty="0">
                          <a:effectLst/>
                        </a:rPr>
                        <a:t> </a:t>
                      </a:r>
                      <a:endParaRPr lang="en-ID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475236360"/>
                  </a:ext>
                </a:extLst>
              </a:tr>
              <a:tr h="44365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rgbClr val="FFFFFF"/>
                          </a:solidFill>
                          <a:effectLst/>
                        </a:rPr>
                        <a:t>3.</a:t>
                      </a:r>
                      <a:endParaRPr lang="en-ID" sz="130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400" dirty="0">
                          <a:solidFill>
                            <a:srgbClr val="FFFFFF"/>
                          </a:solidFill>
                          <a:effectLst/>
                        </a:rPr>
                        <a:t>K</a:t>
                      </a:r>
                      <a:r>
                        <a:rPr lang="en-US" sz="1400" dirty="0">
                          <a:solidFill>
                            <a:srgbClr val="FFFFFF"/>
                          </a:solidFill>
                          <a:effectLst/>
                        </a:rPr>
                        <a:t>e</a:t>
                      </a:r>
                      <a:r>
                        <a:rPr lang="id-ID" sz="1400" dirty="0">
                          <a:solidFill>
                            <a:srgbClr val="FFFFFF"/>
                          </a:solidFill>
                          <a:effectLst/>
                        </a:rPr>
                        <a:t>m</a:t>
                      </a:r>
                      <a:r>
                        <a:rPr lang="en-US" sz="1400" dirty="0" err="1">
                          <a:solidFill>
                            <a:srgbClr val="FFFFFF"/>
                          </a:solidFill>
                          <a:effectLst/>
                        </a:rPr>
                        <a:t>ampuan</a:t>
                      </a:r>
                      <a:r>
                        <a:rPr lang="en-US" sz="1400" dirty="0">
                          <a:solidFill>
                            <a:srgbClr val="FFFFFF"/>
                          </a:solidFill>
                          <a:effectLst/>
                        </a:rPr>
                        <a:t> </a:t>
                      </a:r>
                      <a:r>
                        <a:rPr lang="id-ID" sz="1400" dirty="0">
                          <a:solidFill>
                            <a:srgbClr val="FFFFFF"/>
                          </a:solidFill>
                          <a:effectLst/>
                        </a:rPr>
                        <a:t>Teknis</a:t>
                      </a:r>
                      <a:endParaRPr lang="en-ID" sz="14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FFFFFF"/>
                          </a:solidFill>
                          <a:effectLst/>
                        </a:rPr>
                        <a:t>15</a:t>
                      </a:r>
                      <a:endParaRPr lang="en-ID" sz="140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rgbClr val="FFFFFF"/>
                          </a:solidFill>
                          <a:effectLst/>
                        </a:rPr>
                        <a:t> </a:t>
                      </a:r>
                      <a:endParaRPr lang="en-ID" sz="13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dirty="0">
                          <a:effectLst/>
                        </a:rPr>
                        <a:t> </a:t>
                      </a:r>
                      <a:endParaRPr lang="en-ID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8731335"/>
                  </a:ext>
                </a:extLst>
              </a:tr>
              <a:tr h="305050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rgbClr val="FFFFFF"/>
                          </a:solidFill>
                          <a:effectLst/>
                        </a:rPr>
                        <a:t>4.</a:t>
                      </a:r>
                      <a:endParaRPr lang="en-ID" sz="130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rgbClr val="FFFFFF"/>
                          </a:solidFill>
                          <a:effectLst/>
                        </a:rPr>
                        <a:t>Kemampuan</a:t>
                      </a:r>
                      <a:r>
                        <a:rPr lang="en-US" sz="1400" dirty="0">
                          <a:solidFill>
                            <a:srgbClr val="FFFFFF"/>
                          </a:solidFill>
                          <a:effectLst/>
                        </a:rPr>
                        <a:t>  Pengembangan (Development)</a:t>
                      </a:r>
                      <a:endParaRPr lang="en-ID" sz="1400" dirty="0">
                        <a:solidFill>
                          <a:srgbClr val="FFFFFF"/>
                        </a:solidFill>
                        <a:effectLst/>
                      </a:endParaRPr>
                    </a:p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 dirty="0" err="1">
                          <a:solidFill>
                            <a:srgbClr val="FFFFFF"/>
                          </a:solidFill>
                          <a:effectLst/>
                        </a:rPr>
                        <a:t>Visi</a:t>
                      </a:r>
                      <a:r>
                        <a:rPr lang="en-US" sz="1400" dirty="0">
                          <a:solidFill>
                            <a:srgbClr val="FFFFFF"/>
                          </a:solidFill>
                          <a:effectLst/>
                        </a:rPr>
                        <a:t> dan </a:t>
                      </a:r>
                      <a:r>
                        <a:rPr lang="en-US" sz="1400" dirty="0" err="1">
                          <a:solidFill>
                            <a:srgbClr val="FFFFFF"/>
                          </a:solidFill>
                          <a:effectLst/>
                        </a:rPr>
                        <a:t>Misi</a:t>
                      </a:r>
                      <a:r>
                        <a:rPr lang="en-US" sz="1400" dirty="0">
                          <a:solidFill>
                            <a:srgbClr val="FFFFFF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rgbClr val="FFFFFF"/>
                          </a:solidFill>
                          <a:effectLst/>
                        </a:rPr>
                        <a:t>Kepemimpinan</a:t>
                      </a:r>
                      <a:r>
                        <a:rPr lang="en-US" sz="1400" dirty="0">
                          <a:solidFill>
                            <a:srgbClr val="FFFFFF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rgbClr val="FFFFFF"/>
                          </a:solidFill>
                          <a:effectLst/>
                        </a:rPr>
                        <a:t>ke</a:t>
                      </a:r>
                      <a:r>
                        <a:rPr lang="en-US" sz="1400" dirty="0">
                          <a:solidFill>
                            <a:srgbClr val="FFFFFF"/>
                          </a:solidFill>
                          <a:effectLst/>
                        </a:rPr>
                        <a:t> </a:t>
                      </a:r>
                      <a:r>
                        <a:rPr lang="en-US" sz="1400" dirty="0" err="1">
                          <a:solidFill>
                            <a:srgbClr val="FFFFFF"/>
                          </a:solidFill>
                          <a:effectLst/>
                        </a:rPr>
                        <a:t>depan</a:t>
                      </a:r>
                      <a:endParaRPr lang="en-ID" sz="14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400">
                          <a:solidFill>
                            <a:srgbClr val="FFFFFF"/>
                          </a:solidFill>
                          <a:effectLst/>
                        </a:rPr>
                        <a:t>35</a:t>
                      </a:r>
                      <a:endParaRPr lang="en-ID" sz="140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rgbClr val="FFFFFF"/>
                          </a:solidFill>
                          <a:effectLst/>
                        </a:rPr>
                        <a:t> </a:t>
                      </a:r>
                      <a:endParaRPr lang="en-ID" sz="13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dirty="0">
                          <a:effectLst/>
                        </a:rPr>
                        <a:t> </a:t>
                      </a:r>
                      <a:endParaRPr lang="en-ID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907818994"/>
                  </a:ext>
                </a:extLst>
              </a:tr>
              <a:tr h="443653"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>
                          <a:solidFill>
                            <a:srgbClr val="FFFFFF"/>
                          </a:solidFill>
                          <a:effectLst/>
                        </a:rPr>
                        <a:t>5</a:t>
                      </a:r>
                      <a:endParaRPr lang="en-ID" sz="130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pt-BR" sz="1400" dirty="0">
                          <a:solidFill>
                            <a:srgbClr val="FFFFFF"/>
                          </a:solidFill>
                          <a:effectLst/>
                        </a:rPr>
                        <a:t>Kemampuan Presentasi dan Penguasaan terhadap substansi materi </a:t>
                      </a:r>
                      <a:endParaRPr lang="en-ID" sz="14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400" dirty="0">
                          <a:solidFill>
                            <a:srgbClr val="FFFFFF"/>
                          </a:solidFill>
                          <a:effectLst/>
                        </a:rPr>
                        <a:t>10</a:t>
                      </a:r>
                      <a:endParaRPr lang="en-ID" sz="14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rgbClr val="FFFFFF"/>
                          </a:solidFill>
                          <a:effectLst/>
                        </a:rPr>
                        <a:t> </a:t>
                      </a:r>
                      <a:endParaRPr lang="en-ID" sz="13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dirty="0">
                          <a:effectLst/>
                        </a:rPr>
                        <a:t> </a:t>
                      </a:r>
                      <a:endParaRPr lang="en-ID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272799375"/>
                  </a:ext>
                </a:extLst>
              </a:tr>
              <a:tr h="214457">
                <a:tc gridSpan="2">
                  <a:txBody>
                    <a:bodyPr/>
                    <a:lstStyle/>
                    <a:p>
                      <a:pPr marL="201930"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300" dirty="0">
                          <a:solidFill>
                            <a:srgbClr val="FFFFFF"/>
                          </a:solidFill>
                          <a:effectLst/>
                        </a:rPr>
                        <a:t>Jumlah</a:t>
                      </a:r>
                      <a:endParaRPr lang="en-ID" sz="13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en-US" sz="1300" dirty="0">
                          <a:solidFill>
                            <a:srgbClr val="FFFFFF"/>
                          </a:solidFill>
                          <a:effectLst/>
                        </a:rPr>
                        <a:t>100</a:t>
                      </a:r>
                      <a:endParaRPr lang="en-ID" sz="13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300" dirty="0">
                          <a:solidFill>
                            <a:srgbClr val="FFFFFF"/>
                          </a:solidFill>
                          <a:effectLst/>
                        </a:rPr>
                        <a:t> </a:t>
                      </a:r>
                      <a:endParaRPr lang="en-ID" sz="1300" dirty="0">
                        <a:solidFill>
                          <a:srgbClr val="FFFFFF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15000"/>
                        </a:lnSpc>
                        <a:spcAft>
                          <a:spcPts val="0"/>
                        </a:spcAft>
                      </a:pPr>
                      <a:r>
                        <a:rPr lang="id-ID" sz="1200" dirty="0">
                          <a:effectLst/>
                        </a:rPr>
                        <a:t> </a:t>
                      </a:r>
                      <a:endParaRPr lang="en-ID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68580" marR="68580" marT="0" marB="0">
                    <a:solidFill>
                      <a:schemeClr val="bg2">
                        <a:lumMod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25844559"/>
                  </a:ext>
                </a:extLst>
              </a:tr>
            </a:tbl>
          </a:graphicData>
        </a:graphic>
      </p:graphicFrame>
      <p:sp>
        <p:nvSpPr>
          <p:cNvPr id="3" name="Rectangle 1">
            <a:extLst>
              <a:ext uri="{FF2B5EF4-FFF2-40B4-BE49-F238E27FC236}">
                <a16:creationId xmlns:a16="http://schemas.microsoft.com/office/drawing/2014/main" id="{C6923DF8-FFE5-4B30-A49B-78EB0F0C2045}"/>
              </a:ext>
            </a:extLst>
          </p:cNvPr>
          <p:cNvSpPr>
            <a:spLocks noChangeArrowheads="1"/>
          </p:cNvSpPr>
          <p:nvPr/>
        </p:nvSpPr>
        <p:spPr bwMode="auto">
          <a:xfrm>
            <a:off x="0" y="557937"/>
            <a:ext cx="9143999" cy="307777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  <a:spAutoFit/>
          </a:bodyPr>
          <a:lstStyle/>
          <a:p>
            <a:pPr lvl="0" algn="ctr" eaLnBrk="0" fontAlgn="base" hangingPunct="0">
              <a:spcBef>
                <a:spcPct val="0"/>
              </a:spcBef>
              <a:spcAft>
                <a:spcPct val="0"/>
              </a:spcAft>
              <a:buClrTx/>
            </a:pPr>
            <a:r>
              <a:rPr lang="en-US" altLang="en-US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anose="020B0604030504040204" pitchFamily="34" charset="0"/>
                <a:ea typeface="Calibri" panose="020F0502020204030204" pitchFamily="34" charset="0"/>
                <a:cs typeface="Tahoma" panose="020B0604030504040204" pitchFamily="34" charset="0"/>
              </a:rPr>
              <a:t>3. </a:t>
            </a:r>
            <a:r>
              <a:rPr lang="en-US" altLang="en-US" b="1" dirty="0" err="1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anose="020B0604030504040204" pitchFamily="34" charset="0"/>
                <a:ea typeface="Calibri" panose="020F0502020204030204" pitchFamily="34" charset="0"/>
                <a:cs typeface="Tahoma" panose="020B0604030504040204" pitchFamily="34" charset="0"/>
              </a:rPr>
              <a:t>Kategori</a:t>
            </a:r>
            <a:r>
              <a:rPr lang="en-US" altLang="en-US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Tahoma" panose="020B0604030504040204" pitchFamily="34" charset="0"/>
                <a:ea typeface="Calibri" panose="020F0502020204030204" pitchFamily="34" charset="0"/>
                <a:cs typeface="Tahoma" panose="020B0604030504040204" pitchFamily="34" charset="0"/>
              </a:rPr>
              <a:t> : Future Leader</a:t>
            </a:r>
          </a:p>
        </p:txBody>
      </p:sp>
      <p:sp>
        <p:nvSpPr>
          <p:cNvPr id="4" name="Rectangle 3">
            <a:extLst>
              <a:ext uri="{FF2B5EF4-FFF2-40B4-BE49-F238E27FC236}">
                <a16:creationId xmlns:a16="http://schemas.microsoft.com/office/drawing/2014/main" id="{67E22F12-DE76-4ECE-A800-0DF006DFB849}"/>
              </a:ext>
            </a:extLst>
          </p:cNvPr>
          <p:cNvSpPr/>
          <p:nvPr/>
        </p:nvSpPr>
        <p:spPr>
          <a:xfrm>
            <a:off x="1" y="10924"/>
            <a:ext cx="9144000" cy="462050"/>
          </a:xfrm>
          <a:prstGeom prst="rect">
            <a:avLst/>
          </a:prstGeom>
          <a:solidFill>
            <a:schemeClr val="accent5"/>
          </a:solidFill>
        </p:spPr>
        <p:style>
          <a:lnRef idx="2">
            <a:schemeClr val="dk1"/>
          </a:lnRef>
          <a:fillRef idx="1">
            <a:schemeClr val="lt1"/>
          </a:fillRef>
          <a:effectRef idx="0">
            <a:schemeClr val="dk1"/>
          </a:effectRef>
          <a:fontRef idx="minor">
            <a:schemeClr val="dk1"/>
          </a:fontRef>
        </p:style>
        <p:txBody>
          <a:bodyPr wrap="square">
            <a:spAutoFit/>
          </a:bodyPr>
          <a:lstStyle/>
          <a:p>
            <a:pPr algn="ctr">
              <a:lnSpc>
                <a:spcPct val="150000"/>
              </a:lnSpc>
              <a:spcAft>
                <a:spcPts val="1067"/>
              </a:spcAft>
              <a:tabLst>
                <a:tab pos="120224" algn="l"/>
              </a:tabLst>
            </a:pPr>
            <a:r>
              <a:rPr lang="en-US" sz="1800" b="1" spc="-7" dirty="0">
                <a:solidFill>
                  <a:schemeClr val="bg1"/>
                </a:solidFill>
                <a:latin typeface="Tahoma" panose="020B060403050404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RITERIA PENILAIAN PRESENTASI DAN WAWANCARA</a:t>
            </a:r>
            <a:endParaRPr lang="en-US" sz="1800" dirty="0">
              <a:solidFill>
                <a:schemeClr val="bg1"/>
              </a:solidFill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00995099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47000">
              <a:srgbClr val="00B0F0"/>
            </a:gs>
            <a:gs pos="0">
              <a:schemeClr val="accent1">
                <a:lumMod val="5000"/>
                <a:lumOff val="95000"/>
              </a:schemeClr>
            </a:gs>
            <a:gs pos="65000">
              <a:schemeClr val="accent6">
                <a:lumMod val="50000"/>
                <a:lumOff val="50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89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extBox 3">
            <a:extLst>
              <a:ext uri="{FF2B5EF4-FFF2-40B4-BE49-F238E27FC236}">
                <a16:creationId xmlns:a16="http://schemas.microsoft.com/office/drawing/2014/main" id="{90510556-979B-4258-8153-06DEC528FF3C}"/>
              </a:ext>
            </a:extLst>
          </p:cNvPr>
          <p:cNvSpPr txBox="1"/>
          <p:nvPr/>
        </p:nvSpPr>
        <p:spPr>
          <a:xfrm>
            <a:off x="837932" y="1371238"/>
            <a:ext cx="2773396" cy="64633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 fontAlgn="base"/>
            <a:r>
              <a:rPr lang="en-ID" sz="1800" b="1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SISTEMATIS</a:t>
            </a:r>
            <a:r>
              <a:rPr lang="en-ID" sz="1800" b="1" dirty="0">
                <a:solidFill>
                  <a:schemeClr val="tx1"/>
                </a:solidFill>
                <a:latin typeface="Arial" panose="020B0604020202020204" pitchFamily="34" charset="0"/>
                <a:ea typeface="Times New Roman" panose="02020603050405020304" pitchFamily="18" charset="0"/>
              </a:rPr>
              <a:t> DAN </a:t>
            </a:r>
            <a:r>
              <a:rPr lang="en-ID" sz="1800" b="1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PENULISAN MAKALAH</a:t>
            </a:r>
            <a:endParaRPr lang="en-ID" sz="1800" dirty="0">
              <a:solidFill>
                <a:schemeClr val="tx1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sp>
        <p:nvSpPr>
          <p:cNvPr id="6" name="TextBox 5">
            <a:extLst>
              <a:ext uri="{FF2B5EF4-FFF2-40B4-BE49-F238E27FC236}">
                <a16:creationId xmlns:a16="http://schemas.microsoft.com/office/drawing/2014/main" id="{7E36708C-5DF0-4E53-A67A-06F849F1C2C9}"/>
              </a:ext>
            </a:extLst>
          </p:cNvPr>
          <p:cNvSpPr txBox="1"/>
          <p:nvPr/>
        </p:nvSpPr>
        <p:spPr>
          <a:xfrm>
            <a:off x="749257" y="3353295"/>
            <a:ext cx="3269672" cy="1490857"/>
          </a:xfrm>
          <a:prstGeom prst="rect">
            <a:avLst/>
          </a:prstGeom>
          <a:solidFill>
            <a:schemeClr val="accent3">
              <a:lumMod val="20000"/>
              <a:lumOff val="80000"/>
            </a:schemeClr>
          </a:solidFill>
          <a:effectLst>
            <a:glow rad="101600">
              <a:schemeClr val="accent2">
                <a:satMod val="175000"/>
                <a:alpha val="40000"/>
              </a:schemeClr>
            </a:glow>
          </a:effectLst>
        </p:spPr>
        <p:txBody>
          <a:bodyPr wrap="square">
            <a:spAutoFit/>
          </a:bodyPr>
          <a:lstStyle/>
          <a:p>
            <a:pPr marL="179388" lvl="0" indent="-179388">
              <a:lnSpc>
                <a:spcPct val="107000"/>
              </a:lnSpc>
              <a:spcAft>
                <a:spcPts val="14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oft Cover/</a:t>
            </a:r>
            <a:r>
              <a:rPr lang="en-US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ilid</a:t>
            </a: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tuk</a:t>
            </a: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ategori</a:t>
            </a: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ovatif</a:t>
            </a: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rwarna</a:t>
            </a: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Merah</a:t>
            </a:r>
            <a:endParaRPr lang="en-ID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9388" lvl="0" indent="-179388">
              <a:lnSpc>
                <a:spcPct val="107000"/>
              </a:lnSpc>
              <a:spcAft>
                <a:spcPts val="14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oft Cover/</a:t>
            </a:r>
            <a:r>
              <a:rPr lang="en-US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ilid</a:t>
            </a: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tuk</a:t>
            </a: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ategori</a:t>
            </a: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Inpiratif</a:t>
            </a: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 </a:t>
            </a:r>
            <a:r>
              <a:rPr lang="en-US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rwarna</a:t>
            </a: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uning</a:t>
            </a:r>
            <a:endParaRPr lang="en-ID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  <a:p>
            <a:pPr marL="179388" lvl="0" indent="-179388">
              <a:lnSpc>
                <a:spcPct val="107000"/>
              </a:lnSpc>
              <a:spcAft>
                <a:spcPts val="140"/>
              </a:spcAft>
              <a:buSzPts val="1000"/>
              <a:buFont typeface="Symbol" panose="05050102010706020507" pitchFamily="18" charset="2"/>
              <a:buChar char=""/>
              <a:tabLst>
                <a:tab pos="457200" algn="l"/>
              </a:tabLst>
            </a:pP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Soft Cover/</a:t>
            </a:r>
            <a:r>
              <a:rPr lang="en-US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Jilid</a:t>
            </a: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Untuk</a:t>
            </a: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kategori</a:t>
            </a: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i="1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The Future Leader  </a:t>
            </a:r>
            <a:r>
              <a:rPr lang="en-US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erwarna</a:t>
            </a:r>
            <a:r>
              <a:rPr lang="en-US" dirty="0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 </a:t>
            </a:r>
            <a:r>
              <a:rPr lang="en-US" dirty="0" err="1">
                <a:effectLst/>
                <a:latin typeface="Calibri" panose="020F0502020204030204" pitchFamily="34" charset="0"/>
                <a:ea typeface="Calibri" panose="020F0502020204030204" pitchFamily="34" charset="0"/>
                <a:cs typeface="Times New Roman" panose="02020603050405020304" pitchFamily="18" charset="0"/>
              </a:rPr>
              <a:t>biru</a:t>
            </a:r>
            <a:endParaRPr lang="en-ID" dirty="0">
              <a:effectLst/>
              <a:latin typeface="Calibri" panose="020F0502020204030204" pitchFamily="34" charset="0"/>
              <a:ea typeface="Calibri" panose="020F0502020204030204" pitchFamily="34" charset="0"/>
              <a:cs typeface="Times New Roman" panose="02020603050405020304" pitchFamily="18" charset="0"/>
            </a:endParaRPr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2BF1FD47-8064-41FB-8401-14C6890B900C}"/>
              </a:ext>
            </a:extLst>
          </p:cNvPr>
          <p:cNvSpPr txBox="1"/>
          <p:nvPr/>
        </p:nvSpPr>
        <p:spPr>
          <a:xfrm>
            <a:off x="1444626" y="2972043"/>
            <a:ext cx="1852069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900430" indent="-900430" fontAlgn="base"/>
            <a:r>
              <a:rPr lang="en-ID" sz="1400" b="1" dirty="0">
                <a:solidFill>
                  <a:schemeClr val="tx1"/>
                </a:solidFill>
                <a:effectLst/>
                <a:latin typeface="Arial" panose="020B0604020202020204" pitchFamily="34" charset="0"/>
                <a:ea typeface="Times New Roman" panose="02020603050405020304" pitchFamily="18" charset="0"/>
              </a:rPr>
              <a:t>JILID MAKALAH</a:t>
            </a:r>
            <a:endParaRPr lang="en-ID" sz="1400" dirty="0">
              <a:solidFill>
                <a:schemeClr val="tx1"/>
              </a:solidFill>
              <a:effectLst/>
              <a:latin typeface="Times New Roman" panose="02020603050405020304" pitchFamily="18" charset="0"/>
              <a:ea typeface="Times New Roman" panose="02020603050405020304" pitchFamily="18" charset="0"/>
            </a:endParaRPr>
          </a:p>
        </p:txBody>
      </p:sp>
      <p:pic>
        <p:nvPicPr>
          <p:cNvPr id="2" name="Picture 1">
            <a:extLst>
              <a:ext uri="{FF2B5EF4-FFF2-40B4-BE49-F238E27FC236}">
                <a16:creationId xmlns:a16="http://schemas.microsoft.com/office/drawing/2014/main" id="{ABE89A28-18F0-468D-A836-31FD887F05C6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426529" y="206671"/>
            <a:ext cx="4488872" cy="4730157"/>
          </a:xfrm>
          <a:prstGeom prst="rect">
            <a:avLst/>
          </a:prstGeom>
          <a:ln w="190500" cap="sq">
            <a:solidFill>
              <a:srgbClr val="C8C6BD"/>
            </a:solidFill>
            <a:prstDash val="solid"/>
            <a:miter lim="800000"/>
          </a:ln>
          <a:effectLst>
            <a:outerShdw blurRad="254000" algn="bl" rotWithShape="0">
              <a:srgbClr val="000000">
                <a:alpha val="43000"/>
              </a:srgbClr>
            </a:outerShdw>
          </a:effectLst>
          <a:scene3d>
            <a:camera prst="perspectiveFront" fov="5400000"/>
            <a:lightRig rig="threePt" dir="t">
              <a:rot lat="0" lon="0" rev="2100000"/>
            </a:lightRig>
          </a:scene3d>
          <a:sp3d extrusionH="25400">
            <a:bevelT w="304800" h="152400" prst="hardEdge"/>
            <a:extrusionClr>
              <a:srgbClr val="000000"/>
            </a:extrusionClr>
          </a:sp3d>
        </p:spPr>
      </p:pic>
    </p:spTree>
    <p:extLst>
      <p:ext uri="{BB962C8B-B14F-4D97-AF65-F5344CB8AC3E}">
        <p14:creationId xmlns:p14="http://schemas.microsoft.com/office/powerpoint/2010/main" val="2407919376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bg>
      <p:bgPr>
        <a:gradFill>
          <a:gsLst>
            <a:gs pos="47000">
              <a:srgbClr val="00B0F0"/>
            </a:gs>
            <a:gs pos="0">
              <a:schemeClr val="accent1">
                <a:lumMod val="5000"/>
                <a:lumOff val="95000"/>
              </a:schemeClr>
            </a:gs>
            <a:gs pos="65000">
              <a:schemeClr val="accent6">
                <a:lumMod val="50000"/>
                <a:lumOff val="50000"/>
              </a:schemeClr>
            </a:gs>
            <a:gs pos="83000">
              <a:schemeClr val="accent1">
                <a:lumMod val="45000"/>
                <a:lumOff val="55000"/>
              </a:schemeClr>
            </a:gs>
            <a:gs pos="89000">
              <a:schemeClr val="accent1">
                <a:lumMod val="30000"/>
                <a:lumOff val="70000"/>
              </a:schemeClr>
            </a:gs>
          </a:gsLst>
          <a:lin ang="5400000" scaled="1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tangle 5">
            <a:extLst>
              <a:ext uri="{FF2B5EF4-FFF2-40B4-BE49-F238E27FC236}">
                <a16:creationId xmlns:a16="http://schemas.microsoft.com/office/drawing/2014/main" id="{8967D12E-093D-4232-B118-10C4E29FBBE7}"/>
              </a:ext>
            </a:extLst>
          </p:cNvPr>
          <p:cNvSpPr/>
          <p:nvPr/>
        </p:nvSpPr>
        <p:spPr>
          <a:xfrm>
            <a:off x="145473" y="491836"/>
            <a:ext cx="8887691" cy="4583722"/>
          </a:xfrm>
          <a:prstGeom prst="rect">
            <a:avLst/>
          </a:prstGeom>
          <a:solidFill>
            <a:schemeClr val="accent1">
              <a:lumMod val="20000"/>
              <a:lumOff val="80000"/>
              <a:alpha val="88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ko-KR" altLang="en-US" sz="1050" dirty="0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FAA07C48-E0A5-4DAE-8FE0-338B02E514F3}"/>
              </a:ext>
            </a:extLst>
          </p:cNvPr>
          <p:cNvSpPr txBox="1"/>
          <p:nvPr/>
        </p:nvSpPr>
        <p:spPr>
          <a:xfrm>
            <a:off x="826076" y="184059"/>
            <a:ext cx="7308271" cy="30777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  <a:effectLst>
                  <a:outerShdw blurRad="38100" dist="38100" dir="2700000" algn="tl">
                    <a:srgbClr val="000000">
                      <a:alpha val="43137"/>
                    </a:srgbClr>
                  </a:outerShdw>
                </a:effectLst>
                <a:latin typeface="Arial" panose="020B0604020202020204" pitchFamily="34" charset="0"/>
                <a:ea typeface="Calibri" panose="020F0502020204030204" pitchFamily="34" charset="0"/>
              </a:rPr>
              <a:t>SISTEMATIS PENYUSUNAN MAKALAH KATEGORI PNS INOVATIF</a:t>
            </a:r>
            <a:endParaRPr lang="en-ID" dirty="0">
              <a:solidFill>
                <a:schemeClr val="bg1"/>
              </a:solidFill>
              <a:effectLst>
                <a:outerShdw blurRad="38100" dist="38100" dir="2700000" algn="tl">
                  <a:srgbClr val="000000">
                    <a:alpha val="43137"/>
                  </a:srgbClr>
                </a:outerShdw>
              </a:effectLst>
            </a:endParaRPr>
          </a:p>
        </p:txBody>
      </p:sp>
      <p:graphicFrame>
        <p:nvGraphicFramePr>
          <p:cNvPr id="5" name="Table 4">
            <a:extLst>
              <a:ext uri="{FF2B5EF4-FFF2-40B4-BE49-F238E27FC236}">
                <a16:creationId xmlns:a16="http://schemas.microsoft.com/office/drawing/2014/main" id="{0970EEF7-B14E-43E3-8E63-80C823BFD23C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1664952075"/>
              </p:ext>
            </p:extLst>
          </p:nvPr>
        </p:nvGraphicFramePr>
        <p:xfrm>
          <a:off x="261504" y="639013"/>
          <a:ext cx="8655628" cy="4289367"/>
        </p:xfrm>
        <a:graphic>
          <a:graphicData uri="http://schemas.openxmlformats.org/drawingml/2006/table">
            <a:tbl>
              <a:tblPr firstRow="1" firstCol="1" bandRow="1">
                <a:tableStyleId>{CEE5C0A8-22BA-475E-88B9-26B833EDCDDB}</a:tableStyleId>
              </a:tblPr>
              <a:tblGrid>
                <a:gridCol w="660232">
                  <a:extLst>
                    <a:ext uri="{9D8B030D-6E8A-4147-A177-3AD203B41FA5}">
                      <a16:colId xmlns:a16="http://schemas.microsoft.com/office/drawing/2014/main" val="2018277120"/>
                    </a:ext>
                  </a:extLst>
                </a:gridCol>
                <a:gridCol w="1684650">
                  <a:extLst>
                    <a:ext uri="{9D8B030D-6E8A-4147-A177-3AD203B41FA5}">
                      <a16:colId xmlns:a16="http://schemas.microsoft.com/office/drawing/2014/main" val="3673835694"/>
                    </a:ext>
                  </a:extLst>
                </a:gridCol>
                <a:gridCol w="6310746">
                  <a:extLst>
                    <a:ext uri="{9D8B030D-6E8A-4147-A177-3AD203B41FA5}">
                      <a16:colId xmlns:a16="http://schemas.microsoft.com/office/drawing/2014/main" val="2623805828"/>
                    </a:ext>
                  </a:extLst>
                </a:gridCol>
              </a:tblGrid>
              <a:tr h="173529">
                <a:tc grid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DAFTAR ISI</a:t>
                      </a:r>
                      <a:endParaRPr lang="en-ID" sz="1200" b="0" dirty="0">
                        <a:solidFill>
                          <a:srgbClr val="000000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056" marR="47056" marT="0" marB="0"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3429563"/>
                  </a:ext>
                </a:extLst>
              </a:tr>
              <a:tr h="173529">
                <a:tc grid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LEMBAR PENGESAHAN</a:t>
                      </a:r>
                      <a:endParaRPr lang="en-ID" sz="1200" b="0" dirty="0">
                        <a:solidFill>
                          <a:srgbClr val="000000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056" marR="47056" marT="0" marB="0"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196839691"/>
                  </a:ext>
                </a:extLst>
              </a:tr>
              <a:tr h="446148">
                <a:tc gridSpan="2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Ringkasan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Eksekutif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</a:p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(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Maksimal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500 Kata)</a:t>
                      </a:r>
                      <a:endParaRPr lang="en-ID" sz="1200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056" marR="4705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Jelaskan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secara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ringkas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terkait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dengan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inovasi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yang di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paparkan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dari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aspek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produk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inovasi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dampak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inovasi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rencana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pengembangan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inovasi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dan output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kegiatan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dihasilkan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. </a:t>
                      </a:r>
                      <a:endParaRPr lang="en-ID" sz="1200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056" marR="4705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069989576"/>
                  </a:ext>
                </a:extLst>
              </a:tr>
              <a:tr h="173529">
                <a:tc grid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AB I.  PENDAHULUAN (</a:t>
                      </a:r>
                      <a:r>
                        <a:rPr lang="en-US" sz="1200" b="0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ksimal</a:t>
                      </a: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1000 Kata)</a:t>
                      </a:r>
                      <a:endParaRPr lang="en-ID" sz="1200" b="0" dirty="0">
                        <a:solidFill>
                          <a:srgbClr val="000000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056" marR="47056" marT="0" marB="0"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10401024"/>
                  </a:ext>
                </a:extLst>
              </a:tr>
              <a:tr h="55178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1.1.</a:t>
                      </a:r>
                      <a:endParaRPr lang="en-ID" sz="1200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056" marR="4705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Latar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Belakang</a:t>
                      </a:r>
                      <a:endParaRPr lang="en-ID" sz="1200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056" marR="4705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Jelaskan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latar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belakang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mendasari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ide/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gagasan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perlunya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inovasi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penyempurnaan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inovasi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teknologi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masih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diperlukan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permasalahan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atau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kendala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dihadapi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saat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ini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, dan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prediksi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perkembangan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ke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depan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. (Jika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ada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didukung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dengan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data-data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kuantitatif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)</a:t>
                      </a:r>
                      <a:endParaRPr lang="en-ID" sz="1200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056" marR="4705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311627213"/>
                  </a:ext>
                </a:extLst>
              </a:tr>
              <a:tr h="551785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>
                          <a:solidFill>
                            <a:schemeClr val="bg2"/>
                          </a:solidFill>
                          <a:effectLst/>
                        </a:rPr>
                        <a:t>1.2</a:t>
                      </a:r>
                      <a:endParaRPr lang="en-ID" sz="120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056" marR="4705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Identifikasi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dan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Perumusan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Masalah</a:t>
                      </a:r>
                      <a:endParaRPr lang="en-ID" sz="1200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056" marR="4705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Jelaskan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beberapa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permasalahan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muncul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baik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di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dalam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pekerjaan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maupun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terjadi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di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masyarakat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rumuskan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permasalahan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akan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di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selesaikan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dengan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Inovasi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dilakukan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.</a:t>
                      </a:r>
                      <a:endParaRPr lang="en-ID" sz="1200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056" marR="4705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286652544"/>
                  </a:ext>
                </a:extLst>
              </a:tr>
              <a:tr h="17765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>
                          <a:solidFill>
                            <a:schemeClr val="bg2"/>
                          </a:solidFill>
                          <a:effectLst/>
                        </a:rPr>
                        <a:t>1.3</a:t>
                      </a:r>
                      <a:endParaRPr lang="en-ID" sz="120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056" marR="4705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Tujuan</a:t>
                      </a:r>
                      <a:endParaRPr lang="en-ID" sz="1200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056" marR="4705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Jelaskan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tujuan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dilakukan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inovasi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tersebut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dalam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menyelesaikan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permasalahan</a:t>
                      </a:r>
                      <a:endParaRPr lang="en-ID" sz="1200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056" marR="4705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199029597"/>
                  </a:ext>
                </a:extLst>
              </a:tr>
              <a:tr h="237557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>
                          <a:solidFill>
                            <a:schemeClr val="bg2"/>
                          </a:solidFill>
                          <a:effectLst/>
                        </a:rPr>
                        <a:t>1.4</a:t>
                      </a:r>
                      <a:endParaRPr lang="en-ID" sz="120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056" marR="4705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Manfaat</a:t>
                      </a:r>
                      <a:endParaRPr lang="en-ID" sz="1200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056" marR="4705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Jelaskan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manfaat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inovasi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bagi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diri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sendiri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lingkungan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kerja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pemerintahan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masyarakat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dll</a:t>
                      </a:r>
                      <a:endParaRPr lang="en-ID" sz="1200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056" marR="4705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616483475"/>
                  </a:ext>
                </a:extLst>
              </a:tr>
              <a:tr h="36472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1.5</a:t>
                      </a:r>
                      <a:endParaRPr lang="en-ID" sz="1200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056" marR="4705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Output/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Keluaran</a:t>
                      </a:r>
                      <a:endParaRPr lang="en-ID" sz="1200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056" marR="4705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Sebutkan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keluaran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dari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inovasi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tersebut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(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Sistem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, Model,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Kebijakan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Prototife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Produk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produk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siap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dikomersialkan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dll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)</a:t>
                      </a:r>
                      <a:endParaRPr lang="en-ID" sz="1200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056" marR="4705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89898799"/>
                  </a:ext>
                </a:extLst>
              </a:tr>
              <a:tr h="173529">
                <a:tc gridSpan="3"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BAB II. ASPEK TEKNIS INOVASI (</a:t>
                      </a:r>
                      <a:r>
                        <a:rPr lang="en-US" sz="1200" b="0" dirty="0" err="1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Maksimal</a:t>
                      </a:r>
                      <a:r>
                        <a:rPr lang="en-US" sz="1200" b="0" dirty="0">
                          <a:solidFill>
                            <a:srgbClr val="000000"/>
                          </a:solidFill>
                          <a:effectLst/>
                          <a:latin typeface="+mj-lt"/>
                        </a:rPr>
                        <a:t> 1000 Kata)</a:t>
                      </a:r>
                      <a:endParaRPr lang="en-ID" sz="1200" b="0" dirty="0">
                        <a:solidFill>
                          <a:srgbClr val="000000"/>
                        </a:solidFill>
                        <a:effectLst/>
                        <a:latin typeface="+mj-lt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056" marR="47056" marT="0" marB="0">
                    <a:solidFill>
                      <a:schemeClr val="tx1">
                        <a:lumMod val="60000"/>
                        <a:lumOff val="40000"/>
                      </a:schemeClr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en-ID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497047437"/>
                  </a:ext>
                </a:extLst>
              </a:tr>
              <a:tr h="376920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2.1</a:t>
                      </a:r>
                      <a:endParaRPr lang="en-ID" sz="1200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056" marR="4705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208280" algn="just">
                        <a:lnSpc>
                          <a:spcPct val="111000"/>
                        </a:lnSpc>
                        <a:spcAft>
                          <a:spcPts val="205"/>
                        </a:spcAft>
                      </a:pP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Alat dan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bahan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digunakan</a:t>
                      </a:r>
                      <a:endParaRPr lang="en-ID" sz="1200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056" marR="4705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marR="208280" algn="just">
                        <a:lnSpc>
                          <a:spcPct val="111000"/>
                        </a:lnSpc>
                        <a:spcAft>
                          <a:spcPts val="205"/>
                        </a:spcAft>
                      </a:pP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Sebutkan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dan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jelaskan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spesifikasi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bahan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dan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alat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digunakan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dan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dari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mana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alat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dan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bahan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tersebut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dapat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diperoleh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dan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bagaimana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pengunaannya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.</a:t>
                      </a:r>
                      <a:endParaRPr lang="en-ID" sz="1200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056" marR="4705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4011984"/>
                  </a:ext>
                </a:extLst>
              </a:tr>
              <a:tr h="36472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>
                          <a:solidFill>
                            <a:schemeClr val="bg2"/>
                          </a:solidFill>
                          <a:effectLst/>
                        </a:rPr>
                        <a:t>2.2.</a:t>
                      </a:r>
                      <a:endParaRPr lang="en-ID" sz="120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056" marR="4705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Spesifikasi Teknis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Produk</a:t>
                      </a:r>
                      <a:endParaRPr lang="en-ID" sz="1200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056" marR="4705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Jelaskan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teknis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Proses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Produksi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Inovasi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(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barang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/Jasa)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bisa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mengunakan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i="1" dirty="0">
                          <a:solidFill>
                            <a:schemeClr val="bg2"/>
                          </a:solidFill>
                          <a:effectLst/>
                        </a:rPr>
                        <a:t>Flowchart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dan SOP</a:t>
                      </a:r>
                      <a:endParaRPr lang="en-ID" sz="1200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056" marR="4705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53541628"/>
                  </a:ext>
                </a:extLst>
              </a:tr>
              <a:tr h="364721">
                <a:tc>
                  <a:txBody>
                    <a:bodyPr/>
                    <a:lstStyle/>
                    <a:p>
                      <a:pPr algn="ctr"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2.3</a:t>
                      </a:r>
                      <a:endParaRPr lang="en-ID" sz="1200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056" marR="4705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Kebaharuan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Inovasi</a:t>
                      </a:r>
                      <a:endParaRPr lang="en-ID" sz="1200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056" marR="4705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>
                        <a:lnSpc>
                          <a:spcPct val="107000"/>
                        </a:lnSpc>
                        <a:spcAft>
                          <a:spcPts val="140"/>
                        </a:spcAft>
                      </a:pP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Jelaskan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tingkat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kebaharuan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Inovasi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di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bandingkan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dengan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Inovasi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telah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ada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sekarang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(original,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pengembangan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,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atau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peniruan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dari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inovasi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yang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sudah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 </a:t>
                      </a:r>
                      <a:r>
                        <a:rPr lang="en-US" sz="1200" dirty="0" err="1">
                          <a:solidFill>
                            <a:schemeClr val="bg2"/>
                          </a:solidFill>
                          <a:effectLst/>
                        </a:rPr>
                        <a:t>ada</a:t>
                      </a:r>
                      <a:r>
                        <a:rPr lang="en-US" sz="1200" dirty="0">
                          <a:solidFill>
                            <a:schemeClr val="bg2"/>
                          </a:solidFill>
                          <a:effectLst/>
                        </a:rPr>
                        <a:t>)</a:t>
                      </a:r>
                      <a:endParaRPr lang="en-ID" sz="1200" dirty="0">
                        <a:solidFill>
                          <a:schemeClr val="bg2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  <a:cs typeface="Times New Roman" panose="02020603050405020304" pitchFamily="18" charset="0"/>
                      </a:endParaRPr>
                    </a:p>
                  </a:txBody>
                  <a:tcPr marL="47056" marR="47056" marT="0" marB="0">
                    <a:solidFill>
                      <a:schemeClr val="accent2">
                        <a:lumMod val="10000"/>
                        <a:lumOff val="9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86586754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92432528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K.9mQ.DefhpJucOyH4RoRw"/>
</p:tagLst>
</file>

<file path=ppt/theme/_rels/theme3.xml.rels><?xml version="1.0" encoding="UTF-8" standalone="yes"?>
<Relationships xmlns="http://schemas.openxmlformats.org/package/2006/relationships"><Relationship Id="rId1" Type="http://schemas.openxmlformats.org/officeDocument/2006/relationships/image" Target="../media/image4.jpeg"/></Relationships>
</file>

<file path=ppt/theme/theme1.xml><?xml version="1.0" encoding="utf-8"?>
<a:theme xmlns:a="http://schemas.openxmlformats.org/drawingml/2006/main" name="Sales &amp; Deals by Slidesgo">
  <a:themeElements>
    <a:clrScheme name="Simple Light">
      <a:dk1>
        <a:srgbClr val="F9B317"/>
      </a:dk1>
      <a:lt1>
        <a:srgbClr val="0C343D"/>
      </a:lt1>
      <a:dk2>
        <a:srgbClr val="134F5C"/>
      </a:dk2>
      <a:lt2>
        <a:srgbClr val="6F0116"/>
      </a:lt2>
      <a:accent1>
        <a:srgbClr val="F9B317"/>
      </a:accent1>
      <a:accent2>
        <a:srgbClr val="0C343D"/>
      </a:accent2>
      <a:accent3>
        <a:srgbClr val="134F5C"/>
      </a:accent3>
      <a:accent4>
        <a:srgbClr val="6F0116"/>
      </a:accent4>
      <a:accent5>
        <a:srgbClr val="F9B317"/>
      </a:accent5>
      <a:accent6>
        <a:srgbClr val="0C343D"/>
      </a:accent6>
      <a:hlink>
        <a:srgbClr val="F3F3F3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Cover and End Slide Master">
  <a:themeElements>
    <a:clrScheme name="Leader for Success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82C650"/>
      </a:accent1>
      <a:accent2>
        <a:srgbClr val="5CBE7A"/>
      </a:accent2>
      <a:accent3>
        <a:srgbClr val="2CB8AE"/>
      </a:accent3>
      <a:accent4>
        <a:srgbClr val="24A8C2"/>
      </a:accent4>
      <a:accent5>
        <a:srgbClr val="249ED2"/>
      </a:accent5>
      <a:accent6>
        <a:srgbClr val="3F3F3F"/>
      </a:accent6>
      <a:hlink>
        <a:srgbClr val="FFFFFF"/>
      </a:hlink>
      <a:folHlink>
        <a:srgbClr val="FFFFFF"/>
      </a:folHlink>
    </a:clrScheme>
    <a:fontScheme name="MAX-THEME FONT">
      <a:majorFont>
        <a:latin typeface="Arial"/>
        <a:ea typeface="Arial Unicode MS"/>
        <a:cs typeface=""/>
      </a:majorFont>
      <a:minorFont>
        <a:latin typeface="Arial"/>
        <a:ea typeface="Arial Unicode MS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Savon">
  <a:themeElements>
    <a:clrScheme name="Savon">
      <a:dk1>
        <a:sysClr val="windowText" lastClr="000000"/>
      </a:dk1>
      <a:lt1>
        <a:sysClr val="window" lastClr="FFFFFF"/>
      </a:lt1>
      <a:dk2>
        <a:srgbClr val="1485A4"/>
      </a:dk2>
      <a:lt2>
        <a:srgbClr val="E3DED1"/>
      </a:lt2>
      <a:accent1>
        <a:srgbClr val="1CADE4"/>
      </a:accent1>
      <a:accent2>
        <a:srgbClr val="2683C6"/>
      </a:accent2>
      <a:accent3>
        <a:srgbClr val="27CED7"/>
      </a:accent3>
      <a:accent4>
        <a:srgbClr val="42BA97"/>
      </a:accent4>
      <a:accent5>
        <a:srgbClr val="3E8853"/>
      </a:accent5>
      <a:accent6>
        <a:srgbClr val="62A39F"/>
      </a:accent6>
      <a:hlink>
        <a:srgbClr val="F49100"/>
      </a:hlink>
      <a:folHlink>
        <a:srgbClr val="739D9B"/>
      </a:folHlink>
    </a:clrScheme>
    <a:fontScheme name="Savon">
      <a:maj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ＭＳ ゴシック"/>
        <a:font script="Hang" typeface="맑은 고딕"/>
        <a:font script="Hans" typeface="宋体"/>
        <a:font script="Hant" typeface="新細明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inorFont>
    </a:fontScheme>
    <a:fmtScheme name="Savon">
      <a:fillStyleLst>
        <a:solidFill>
          <a:schemeClr val="phClr"/>
        </a:solidFill>
        <a:gradFill rotWithShape="1">
          <a:gsLst>
            <a:gs pos="0">
              <a:schemeClr val="phClr">
                <a:tint val="60000"/>
                <a:satMod val="105000"/>
                <a:lumMod val="105000"/>
              </a:schemeClr>
            </a:gs>
            <a:gs pos="100000">
              <a:schemeClr val="phClr">
                <a:tint val="65000"/>
                <a:satMod val="100000"/>
                <a:lumMod val="100000"/>
              </a:schemeClr>
            </a:gs>
            <a:gs pos="100000">
              <a:schemeClr val="phClr">
                <a:tint val="70000"/>
                <a:satMod val="100000"/>
                <a:lumMod val="10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0000"/>
                <a:lumMod val="100000"/>
              </a:schemeClr>
            </a:gs>
            <a:gs pos="50000">
              <a:schemeClr val="phClr">
                <a:shade val="99000"/>
                <a:satMod val="105000"/>
                <a:lumMod val="100000"/>
              </a:schemeClr>
            </a:gs>
            <a:gs pos="100000">
              <a:schemeClr val="phClr">
                <a:shade val="98000"/>
                <a:satMod val="105000"/>
                <a:lumMod val="100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12700" dir="5400000" algn="ctr" rotWithShape="0">
              <a:srgbClr val="000000">
                <a:alpha val="63000"/>
              </a:srgbClr>
            </a:outerShdw>
          </a:effectLst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  <a:scene3d>
            <a:camera prst="orthographicFront">
              <a:rot lat="0" lon="0" rev="0"/>
            </a:camera>
            <a:lightRig rig="flat" dir="tl">
              <a:rot lat="0" lon="0" rev="4200000"/>
            </a:lightRig>
          </a:scene3d>
          <a:sp3d prstMaterial="flat">
            <a:bevelT w="50800" h="63500" prst="riblet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90000"/>
                <a:shade val="92000"/>
                <a:satMod val="160000"/>
              </a:schemeClr>
            </a:gs>
            <a:gs pos="77000">
              <a:schemeClr val="phClr">
                <a:tint val="100000"/>
                <a:shade val="73000"/>
                <a:satMod val="155000"/>
              </a:schemeClr>
            </a:gs>
            <a:gs pos="100000">
              <a:schemeClr val="phClr">
                <a:tint val="100000"/>
                <a:shade val="67000"/>
                <a:satMod val="145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tint val="95000"/>
              </a:schemeClr>
              <a:schemeClr val="phClr">
                <a:shade val="92000"/>
                <a:satMod val="115000"/>
              </a:schemeClr>
            </a:duotone>
          </a:blip>
          <a:tile tx="0" ty="0" sx="60000" sy="60000" flip="none" algn="tl"/>
        </a:blip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avon" id="{1306E473-ED32-493B-A2D0-240A757EDD34}" vid="{C20BADFE-D095-436F-9677-9264042809F0}"/>
    </a:ext>
  </a:extLst>
</a:theme>
</file>

<file path=ppt/theme/theme4.xml><?xml version="1.0" encoding="utf-8"?>
<a:theme xmlns:a="http://schemas.openxmlformats.org/drawingml/2006/main" name="Event Announcement Newsletter by Slidesgo">
  <a:themeElements>
    <a:clrScheme name="Simple Light">
      <a:dk1>
        <a:srgbClr val="181616"/>
      </a:dk1>
      <a:lt1>
        <a:srgbClr val="FFFFFF"/>
      </a:lt1>
      <a:dk2>
        <a:srgbClr val="272725"/>
      </a:dk2>
      <a:lt2>
        <a:srgbClr val="00A19A"/>
      </a:lt2>
      <a:accent1>
        <a:srgbClr val="F9B233"/>
      </a:accent1>
      <a:accent2>
        <a:srgbClr val="E91623"/>
      </a:accent2>
      <a:accent3>
        <a:srgbClr val="181616"/>
      </a:accent3>
      <a:accent4>
        <a:srgbClr val="FFFFFF"/>
      </a:accent4>
      <a:accent5>
        <a:srgbClr val="181616"/>
      </a:accent5>
      <a:accent6>
        <a:srgbClr val="00A19A"/>
      </a:accent6>
      <a:hlink>
        <a:srgbClr val="F9B233"/>
      </a:hlink>
      <a:folHlink>
        <a:srgbClr val="0097A7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>
  <a:themeElements>
    <a:clrScheme name="Default">
      <a:dk1>
        <a:srgbClr val="000000"/>
      </a:dk1>
      <a:lt1>
        <a:srgbClr val="FFFFFF"/>
      </a:lt1>
      <a:dk2>
        <a:srgbClr val="158158"/>
      </a:dk2>
      <a:lt2>
        <a:srgbClr val="F3F3F3"/>
      </a:lt2>
      <a:accent1>
        <a:srgbClr val="058DC7"/>
      </a:accent1>
      <a:accent2>
        <a:srgbClr val="50B432"/>
      </a:accent2>
      <a:accent3>
        <a:srgbClr val="ED561B"/>
      </a:accent3>
      <a:accent4>
        <a:srgbClr val="EDEF00"/>
      </a:accent4>
      <a:accent5>
        <a:srgbClr val="24CBE5"/>
      </a:accent5>
      <a:accent6>
        <a:srgbClr val="64E572"/>
      </a:accent6>
      <a:hlink>
        <a:srgbClr val="2200CC"/>
      </a:hlink>
      <a:folHlink>
        <a:srgbClr val="551A8B"/>
      </a:folHlink>
    </a:clrScheme>
    <a:fontScheme name="Office">
      <a:maj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337</TotalTime>
  <Words>3884</Words>
  <Application>Microsoft Office PowerPoint</Application>
  <PresentationFormat>On-screen Show (16:9)</PresentationFormat>
  <Paragraphs>493</Paragraphs>
  <Slides>27</Slides>
  <Notes>15</Notes>
  <HiddenSlides>0</HiddenSlides>
  <MMClips>0</MMClips>
  <ScaleCrop>false</ScaleCrop>
  <HeadingPairs>
    <vt:vector size="8" baseType="variant">
      <vt:variant>
        <vt:lpstr>Fonts Used</vt:lpstr>
      </vt:variant>
      <vt:variant>
        <vt:i4>21</vt:i4>
      </vt:variant>
      <vt:variant>
        <vt:lpstr>Theme</vt:lpstr>
      </vt:variant>
      <vt:variant>
        <vt:i4>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7</vt:i4>
      </vt:variant>
    </vt:vector>
  </HeadingPairs>
  <TitlesOfParts>
    <vt:vector size="53" baseType="lpstr">
      <vt:lpstr>Garamond</vt:lpstr>
      <vt:lpstr>Roboto Condensed Light</vt:lpstr>
      <vt:lpstr>Source Sans Pro SemiBold</vt:lpstr>
      <vt:lpstr>Source Sans Pro</vt:lpstr>
      <vt:lpstr>Barlow Light</vt:lpstr>
      <vt:lpstr>Symbol</vt:lpstr>
      <vt:lpstr>Bebas Neue</vt:lpstr>
      <vt:lpstr>Times New Roman</vt:lpstr>
      <vt:lpstr>Montserrat</vt:lpstr>
      <vt:lpstr>Calibri</vt:lpstr>
      <vt:lpstr>Barlow</vt:lpstr>
      <vt:lpstr>Century Gothic</vt:lpstr>
      <vt:lpstr>Aharoni</vt:lpstr>
      <vt:lpstr>Georgia</vt:lpstr>
      <vt:lpstr>Archivo Black</vt:lpstr>
      <vt:lpstr>Arial Rounded MT Bold</vt:lpstr>
      <vt:lpstr>Livvic</vt:lpstr>
      <vt:lpstr>Barlow Condensed SemiBold</vt:lpstr>
      <vt:lpstr>Arial</vt:lpstr>
      <vt:lpstr>Josefin Slab Thin</vt:lpstr>
      <vt:lpstr>Tahoma</vt:lpstr>
      <vt:lpstr>Sales &amp; Deals by Slidesgo</vt:lpstr>
      <vt:lpstr>Cover and End Slide Master</vt:lpstr>
      <vt:lpstr>Savon</vt:lpstr>
      <vt:lpstr>Event Announcement Newsletter by Slidesgo</vt:lpstr>
      <vt:lpstr>think-cell Slide</vt:lpstr>
      <vt:lpstr>PowerPoint Presentation</vt:lpstr>
      <vt:lpstr>Kategori Peserta PNS Berprestasi Jawa Barat Tahun 2021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PowerPoint Presentation</vt:lpstr>
      <vt:lpstr>01</vt:lpstr>
      <vt:lpstr>06</vt:lpstr>
      <vt:lpstr>11</vt:lpstr>
      <vt:lpstr>14</vt:lpstr>
      <vt:lpstr>PANDUAN PRESENTASI </vt:lpstr>
      <vt:lpstr>PowerPoint Presentation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BAYU</dc:creator>
  <cp:lastModifiedBy>BAYU</cp:lastModifiedBy>
  <cp:revision>72</cp:revision>
  <dcterms:modified xsi:type="dcterms:W3CDTF">2021-09-07T19:50:06Z</dcterms:modified>
</cp:coreProperties>
</file>